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2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theme/theme3.xml" ContentType="application/vnd.openxmlformats-officedocument.theme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heme/theme4.xml" ContentType="application/vnd.openxmlformats-officedocument.theme+xml"/>
  <Override PartName="/ppt/tags/tag171.xml" ContentType="application/vnd.openxmlformats-officedocument.presentationml.tags+xml"/>
  <Override PartName="/ppt/notesSlides/notesSlide1.xml" ContentType="application/vnd.openxmlformats-officedocument.presentationml.notesSlide+xml"/>
  <Override PartName="/ppt/tags/tag17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75.xml" ContentType="application/vnd.openxmlformats-officedocument.presentationml.tags+xml"/>
  <Override PartName="/ppt/notesSlides/notesSlide6.xml" ContentType="application/vnd.openxmlformats-officedocument.presentationml.notesSlide+xml"/>
  <Override PartName="/ppt/tags/tag176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77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78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755" r:id="rId2"/>
    <p:sldMasterId id="2147483817" r:id="rId3"/>
  </p:sldMasterIdLst>
  <p:notesMasterIdLst>
    <p:notesMasterId r:id="rId31"/>
  </p:notesMasterIdLst>
  <p:sldIdLst>
    <p:sldId id="4116" r:id="rId4"/>
    <p:sldId id="265" r:id="rId5"/>
    <p:sldId id="4454" r:id="rId6"/>
    <p:sldId id="4377" r:id="rId7"/>
    <p:sldId id="4425" r:id="rId8"/>
    <p:sldId id="4160" r:id="rId9"/>
    <p:sldId id="4384" r:id="rId10"/>
    <p:sldId id="4395" r:id="rId11"/>
    <p:sldId id="4440" r:id="rId12"/>
    <p:sldId id="4424" r:id="rId13"/>
    <p:sldId id="4443" r:id="rId14"/>
    <p:sldId id="4444" r:id="rId15"/>
    <p:sldId id="4451" r:id="rId16"/>
    <p:sldId id="4445" r:id="rId17"/>
    <p:sldId id="4446" r:id="rId18"/>
    <p:sldId id="4430" r:id="rId19"/>
    <p:sldId id="4452" r:id="rId20"/>
    <p:sldId id="4453" r:id="rId21"/>
    <p:sldId id="4373" r:id="rId22"/>
    <p:sldId id="4341" r:id="rId23"/>
    <p:sldId id="4214" r:id="rId24"/>
    <p:sldId id="4457" r:id="rId25"/>
    <p:sldId id="4354" r:id="rId26"/>
    <p:sldId id="4313" r:id="rId27"/>
    <p:sldId id="4456" r:id="rId28"/>
    <p:sldId id="4187" r:id="rId29"/>
    <p:sldId id="4213" r:id="rId30"/>
  </p:sldIdLst>
  <p:sldSz cx="12192000" cy="6858000"/>
  <p:notesSz cx="6858000" cy="9144000"/>
  <p:custDataLst>
    <p:tags r:id="rId3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63" userDrawn="1">
          <p15:clr>
            <a:srgbClr val="A4A3A4"/>
          </p15:clr>
        </p15:guide>
        <p15:guide id="3" orient="horz" pos="1418">
          <p15:clr>
            <a:srgbClr val="A4A3A4"/>
          </p15:clr>
        </p15:guide>
        <p15:guide id="4" pos="460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2" clrIdx="0">
    <p:extLst>
      <p:ext uri="{19B8F6BF-5375-455C-9EA6-DF929625EA0E}">
        <p15:presenceInfo xmlns:p15="http://schemas.microsoft.com/office/powerpoint/2012/main" userId="Microsoft Office Us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A9A"/>
    <a:srgbClr val="E3E3E4"/>
    <a:srgbClr val="FBD805"/>
    <a:srgbClr val="070A0C"/>
    <a:srgbClr val="FFFF00"/>
    <a:srgbClr val="15549F"/>
    <a:srgbClr val="99CDFF"/>
    <a:srgbClr val="00FDFF"/>
    <a:srgbClr val="FF3399"/>
    <a:srgbClr val="71B5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8397" autoAdjust="0"/>
    <p:restoredTop sz="84633" autoAdjust="0"/>
  </p:normalViewPr>
  <p:slideViewPr>
    <p:cSldViewPr snapToGrid="0" showGuides="1">
      <p:cViewPr>
        <p:scale>
          <a:sx n="98" d="100"/>
          <a:sy n="98" d="100"/>
        </p:scale>
        <p:origin x="832" y="104"/>
      </p:cViewPr>
      <p:guideLst>
        <p:guide orient="horz" pos="2160"/>
        <p:guide pos="3863"/>
        <p:guide orient="horz" pos="1418"/>
        <p:guide pos="4600"/>
      </p:guideLst>
    </p:cSldViewPr>
  </p:slideViewPr>
  <p:outlineViewPr>
    <p:cViewPr>
      <p:scale>
        <a:sx n="33" d="100"/>
        <a:sy n="33" d="100"/>
      </p:scale>
      <p:origin x="0" y="-3057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21" Type="http://schemas.openxmlformats.org/officeDocument/2006/relationships/slide" Target="slides/slide18.xml"/><Relationship Id="rId34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viewProps" Target="viewProp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902720-E5C7-49E9-A23D-964780BCE275}" type="datetimeFigureOut">
              <a:rPr lang="de-CH" smtClean="0"/>
              <a:t>16.10.22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74B4FB-3D62-418A-AC60-B2179B53D127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84415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AEE4B53-B382-3C4F-B607-971B098D331B}" type="slidenum">
              <a:rPr lang="x-none" smtClean="0"/>
              <a:t>1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0056825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as Silicon Valley in Kalifornien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ängt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it seiner Nachwuchsarbeit in der Kita an. Nicht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rüh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genug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können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ir junge Menschen </a:t>
            </a:r>
            <a:r>
              <a:rPr lang="de-DE" sz="120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ür</a:t>
            </a: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Wissenschaft und Technik begeistern. </a:t>
            </a:r>
            <a:b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de-DE" sz="1200" i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er nicht alles durchgehen ...</a:t>
            </a:r>
            <a:endParaRPr lang="de-DE" i="1" dirty="0"/>
          </a:p>
          <a:p>
            <a:r>
              <a:rPr lang="de-DE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eispiel DESY Zeuthen Aus- und Weiterbildung für Physiklehrer für das Land Brandenburg. </a:t>
            </a:r>
          </a:p>
          <a:p>
            <a:b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de-DE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ld 1: 2 gute Gründe für die Lausitz: Das</a:t>
            </a:r>
            <a:r>
              <a:rPr lang="de-DE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Granitgestein unter der </a:t>
            </a:r>
            <a:r>
              <a:rPr lang="de-DE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ohstelle</a:t>
            </a:r>
            <a:r>
              <a:rPr lang="de-DE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d </a:t>
            </a:r>
            <a:r>
              <a:rPr lang="de-DE" sz="1200" kern="1200" baseline="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chüler:innen</a:t>
            </a:r>
            <a:r>
              <a:rPr lang="de-DE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und Schüler mit weißen Helmen. </a:t>
            </a:r>
            <a:br>
              <a:rPr lang="de-DE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de-DE" sz="1200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ld 2: Mit ersten Schulbesuchen haben wir bereits begonnen. 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EE4B53-B382-3C4F-B607-971B098D331B}" type="slidenum">
              <a:rPr lang="x-none" smtClean="0"/>
              <a:t>21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15495294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74B4FB-3D62-418A-AC60-B2179B53D127}" type="slidenum">
              <a:rPr lang="de-CH" smtClean="0"/>
              <a:t>2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03098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EE4B53-B382-3C4F-B607-971B098D331B}" type="slidenum">
              <a:rPr kumimoji="0" lang="x-none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x-none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88477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EE4B53-B382-3C4F-B607-971B098D331B}" type="slidenum">
              <a:rPr lang="x-none" smtClean="0"/>
              <a:t>26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6025223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br>
              <a:rPr lang="de-DE" dirty="0"/>
            </a:br>
            <a:endParaRPr lang="x-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74B4FB-3D62-418A-AC60-B2179B53D127}" type="slidenum">
              <a:rPr lang="de-CH" smtClean="0"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9889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74B4FB-3D62-418A-AC60-B2179B53D127}" type="slidenum">
              <a:rPr lang="de-CH" smtClean="0"/>
              <a:t>5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10200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74B4FB-3D62-418A-AC60-B2179B53D127}" type="slidenum">
              <a:rPr lang="de-CH" smtClean="0"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127143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74B4FB-3D62-418A-AC60-B2179B53D127}" type="slidenum">
              <a:rPr lang="de-CH" smtClean="0"/>
              <a:t>16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384370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EE4B53-B382-3C4F-B607-971B098D331B}" type="slidenum">
              <a:rPr kumimoji="0" lang="x-none" sz="12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x-none" sz="12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92407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74B4FB-3D62-418A-AC60-B2179B53D127}" type="slidenum">
              <a:rPr lang="de-CH" smtClean="0"/>
              <a:t>1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929056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D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74B4FB-3D62-418A-AC60-B2179B53D127}" type="slidenum">
              <a:rPr lang="de-CH" smtClean="0"/>
              <a:t>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200074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74B4FB-3D62-418A-AC60-B2179B53D127}" type="slidenum">
              <a:rPr lang="de-CH" smtClean="0"/>
              <a:t>2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72050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2.xml"/><Relationship Id="rId4" Type="http://schemas.openxmlformats.org/officeDocument/2006/relationships/image" Target="../media/image1.emf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3.xml"/><Relationship Id="rId4" Type="http://schemas.openxmlformats.org/officeDocument/2006/relationships/image" Target="../media/image1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4.xml"/><Relationship Id="rId4" Type="http://schemas.openxmlformats.org/officeDocument/2006/relationships/image" Target="../media/image1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5.xml"/><Relationship Id="rId4" Type="http://schemas.openxmlformats.org/officeDocument/2006/relationships/image" Target="../media/image1.emf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6.xml"/><Relationship Id="rId4" Type="http://schemas.openxmlformats.org/officeDocument/2006/relationships/image" Target="../media/image1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7.xml"/><Relationship Id="rId4" Type="http://schemas.openxmlformats.org/officeDocument/2006/relationships/image" Target="../media/image1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8.xml"/><Relationship Id="rId4" Type="http://schemas.openxmlformats.org/officeDocument/2006/relationships/image" Target="../media/image1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9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2.xml"/><Relationship Id="rId4" Type="http://schemas.openxmlformats.org/officeDocument/2006/relationships/image" Target="../media/image1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3.xml"/><Relationship Id="rId4" Type="http://schemas.openxmlformats.org/officeDocument/2006/relationships/image" Target="../media/image1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4.xml"/><Relationship Id="rId4" Type="http://schemas.openxmlformats.org/officeDocument/2006/relationships/image" Target="../media/image1.emf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5.xml"/><Relationship Id="rId4" Type="http://schemas.openxmlformats.org/officeDocument/2006/relationships/image" Target="../media/image1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6.xml"/><Relationship Id="rId4" Type="http://schemas.openxmlformats.org/officeDocument/2006/relationships/image" Target="../media/image1.emf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7.xml"/><Relationship Id="rId4" Type="http://schemas.openxmlformats.org/officeDocument/2006/relationships/image" Target="../media/image1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8.xml"/><Relationship Id="rId4" Type="http://schemas.openxmlformats.org/officeDocument/2006/relationships/image" Target="../media/image1.emf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9.xml"/><Relationship Id="rId4" Type="http://schemas.openxmlformats.org/officeDocument/2006/relationships/image" Target="../media/image1.emf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0.xml"/><Relationship Id="rId4" Type="http://schemas.openxmlformats.org/officeDocument/2006/relationships/image" Target="../media/image1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1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0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3.xml"/><Relationship Id="rId4" Type="http://schemas.openxmlformats.org/officeDocument/2006/relationships/image" Target="../media/image1.emf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5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6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7.xml"/><Relationship Id="rId4" Type="http://schemas.openxmlformats.org/officeDocument/2006/relationships/image" Target="../media/image1.emf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8.xml"/><Relationship Id="rId4" Type="http://schemas.openxmlformats.org/officeDocument/2006/relationships/image" Target="../media/image1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9.xml"/><Relationship Id="rId4" Type="http://schemas.openxmlformats.org/officeDocument/2006/relationships/image" Target="../media/image1.emf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0.xml"/><Relationship Id="rId4" Type="http://schemas.openxmlformats.org/officeDocument/2006/relationships/image" Target="../media/image1.emf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2.xml"/><Relationship Id="rId4" Type="http://schemas.openxmlformats.org/officeDocument/2006/relationships/image" Target="../media/image1.emf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3.xml"/><Relationship Id="rId4" Type="http://schemas.openxmlformats.org/officeDocument/2006/relationships/image" Target="../media/image1.emf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4.xml"/><Relationship Id="rId4" Type="http://schemas.openxmlformats.org/officeDocument/2006/relationships/image" Target="../media/image1.emf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5.xml"/><Relationship Id="rId4" Type="http://schemas.openxmlformats.org/officeDocument/2006/relationships/image" Target="../media/image1.emf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6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7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8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9.xml"/><Relationship Id="rId4" Type="http://schemas.openxmlformats.org/officeDocument/2006/relationships/image" Target="../media/image1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0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1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2.xml"/><Relationship Id="rId4" Type="http://schemas.openxmlformats.org/officeDocument/2006/relationships/image" Target="../media/image1.emf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3.xml"/><Relationship Id="rId4" Type="http://schemas.openxmlformats.org/officeDocument/2006/relationships/image" Target="../media/image1.emf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4.xml"/><Relationship Id="rId4" Type="http://schemas.openxmlformats.org/officeDocument/2006/relationships/image" Target="../media/image1.emf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5.xml"/><Relationship Id="rId4" Type="http://schemas.openxmlformats.org/officeDocument/2006/relationships/image" Target="../media/image1.emf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6.xml"/><Relationship Id="rId4" Type="http://schemas.openxmlformats.org/officeDocument/2006/relationships/image" Target="../media/image1.emf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7.xml"/><Relationship Id="rId4" Type="http://schemas.openxmlformats.org/officeDocument/2006/relationships/image" Target="../media/image1.emf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8.xml"/><Relationship Id="rId4" Type="http://schemas.openxmlformats.org/officeDocument/2006/relationships/image" Target="../media/image1.emf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9.xml"/><Relationship Id="rId4" Type="http://schemas.openxmlformats.org/officeDocument/2006/relationships/image" Target="../media/image1.emf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0.xml"/><Relationship Id="rId4" Type="http://schemas.openxmlformats.org/officeDocument/2006/relationships/image" Target="../media/image1.emf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1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2.xml"/><Relationship Id="rId4" Type="http://schemas.openxmlformats.org/officeDocument/2006/relationships/image" Target="../media/image1.emf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3.xml"/><Relationship Id="rId4" Type="http://schemas.openxmlformats.org/officeDocument/2006/relationships/image" Target="../media/image1.emf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4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5.xml"/><Relationship Id="rId4" Type="http://schemas.openxmlformats.org/officeDocument/2006/relationships/image" Target="../media/image1.emf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6.xml"/><Relationship Id="rId4" Type="http://schemas.openxmlformats.org/officeDocument/2006/relationships/image" Target="../media/image1.emf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7.xml"/><Relationship Id="rId4" Type="http://schemas.openxmlformats.org/officeDocument/2006/relationships/image" Target="../media/image1.emf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8.xml"/><Relationship Id="rId4" Type="http://schemas.openxmlformats.org/officeDocument/2006/relationships/image" Target="../media/image1.emf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9.xml"/><Relationship Id="rId4" Type="http://schemas.openxmlformats.org/officeDocument/2006/relationships/image" Target="../media/image1.emf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0.xml"/><Relationship Id="rId4" Type="http://schemas.openxmlformats.org/officeDocument/2006/relationships/image" Target="../media/image1.emf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1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2.xml"/><Relationship Id="rId4" Type="http://schemas.openxmlformats.org/officeDocument/2006/relationships/image" Target="../media/image1.emf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3.xml"/><Relationship Id="rId4" Type="http://schemas.openxmlformats.org/officeDocument/2006/relationships/image" Target="../media/image1.emf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4.xml"/><Relationship Id="rId4" Type="http://schemas.openxmlformats.org/officeDocument/2006/relationships/image" Target="../media/image1.emf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5.xml"/><Relationship Id="rId4" Type="http://schemas.openxmlformats.org/officeDocument/2006/relationships/image" Target="../media/image1.emf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6.xml"/><Relationship Id="rId4" Type="http://schemas.openxmlformats.org/officeDocument/2006/relationships/image" Target="../media/image1.emf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7.xml"/><Relationship Id="rId4" Type="http://schemas.openxmlformats.org/officeDocument/2006/relationships/image" Target="../media/image1.emf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8.xml"/><Relationship Id="rId4" Type="http://schemas.openxmlformats.org/officeDocument/2006/relationships/image" Target="../media/image1.emf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9.xml"/><Relationship Id="rId4" Type="http://schemas.openxmlformats.org/officeDocument/2006/relationships/image" Target="../media/image1.emf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0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4" Type="http://schemas.openxmlformats.org/officeDocument/2006/relationships/image" Target="../media/image1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4" Type="http://schemas.openxmlformats.org/officeDocument/2006/relationships/image" Target="../media/image1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4" Type="http://schemas.openxmlformats.org/officeDocument/2006/relationships/image" Target="../media/image1.emf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4" Type="http://schemas.openxmlformats.org/officeDocument/2006/relationships/image" Target="../media/image1.emf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Relationship Id="rId4" Type="http://schemas.openxmlformats.org/officeDocument/2006/relationships/image" Target="../media/image1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4" Type="http://schemas.openxmlformats.org/officeDocument/2006/relationships/image" Target="../media/image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4" Type="http://schemas.openxmlformats.org/officeDocument/2006/relationships/image" Target="../media/image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Relationship Id="rId4" Type="http://schemas.openxmlformats.org/officeDocument/2006/relationships/image" Target="../media/image1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5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6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7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8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9.xml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0.xml"/><Relationship Id="rId4" Type="http://schemas.openxmlformats.org/officeDocument/2006/relationships/image" Target="../media/image1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1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2.xml"/><Relationship Id="rId4" Type="http://schemas.openxmlformats.org/officeDocument/2006/relationships/image" Target="../media/image1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3.xml"/><Relationship Id="rId4" Type="http://schemas.openxmlformats.org/officeDocument/2006/relationships/image" Target="../media/image1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4.xml"/><Relationship Id="rId4" Type="http://schemas.openxmlformats.org/officeDocument/2006/relationships/image" Target="../media/image1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5.xml"/><Relationship Id="rId4" Type="http://schemas.openxmlformats.org/officeDocument/2006/relationships/image" Target="../media/image1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6.xml"/><Relationship Id="rId4" Type="http://schemas.openxmlformats.org/officeDocument/2006/relationships/image" Target="../media/image1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7.xml"/><Relationship Id="rId4" Type="http://schemas.openxmlformats.org/officeDocument/2006/relationships/image" Target="../media/image1.emf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8.xml"/><Relationship Id="rId4" Type="http://schemas.openxmlformats.org/officeDocument/2006/relationships/image" Target="../media/image1.emf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9.xml"/><Relationship Id="rId4" Type="http://schemas.openxmlformats.org/officeDocument/2006/relationships/image" Target="../media/image1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1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3.xml"/><Relationship Id="rId4" Type="http://schemas.openxmlformats.org/officeDocument/2006/relationships/image" Target="../media/image1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4.xml"/><Relationship Id="rId4" Type="http://schemas.openxmlformats.org/officeDocument/2006/relationships/image" Target="../media/image1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5.xml"/><Relationship Id="rId4" Type="http://schemas.openxmlformats.org/officeDocument/2006/relationships/image" Target="../media/image1.emf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7.xml"/><Relationship Id="rId4" Type="http://schemas.openxmlformats.org/officeDocument/2006/relationships/image" Target="../media/image1.emf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8.xml"/><Relationship Id="rId4" Type="http://schemas.openxmlformats.org/officeDocument/2006/relationships/image" Target="../media/image1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9.xml"/><Relationship Id="rId4" Type="http://schemas.openxmlformats.org/officeDocument/2006/relationships/image" Target="../media/image1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0.xml"/><Relationship Id="rId4" Type="http://schemas.openxmlformats.org/officeDocument/2006/relationships/image" Target="../media/image1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1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2.xml"/><Relationship Id="rId4" Type="http://schemas.openxmlformats.org/officeDocument/2006/relationships/image" Target="../media/image1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3.xml"/><Relationship Id="rId4" Type="http://schemas.openxmlformats.org/officeDocument/2006/relationships/image" Target="../media/image1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4.xml"/><Relationship Id="rId4" Type="http://schemas.openxmlformats.org/officeDocument/2006/relationships/image" Target="../media/image1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5.xml"/><Relationship Id="rId4" Type="http://schemas.openxmlformats.org/officeDocument/2006/relationships/image" Target="../media/image1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6.xml"/><Relationship Id="rId4" Type="http://schemas.openxmlformats.org/officeDocument/2006/relationships/image" Target="../media/image1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7.xml"/><Relationship Id="rId4" Type="http://schemas.openxmlformats.org/officeDocument/2006/relationships/image" Target="../media/image1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8.xml"/><Relationship Id="rId4" Type="http://schemas.openxmlformats.org/officeDocument/2006/relationships/image" Target="../media/image1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9.xml"/><Relationship Id="rId4" Type="http://schemas.openxmlformats.org/officeDocument/2006/relationships/image" Target="../media/image1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0.xml"/><Relationship Id="rId4" Type="http://schemas.openxmlformats.org/officeDocument/2006/relationships/image" Target="../media/image1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">
    <p:bg>
      <p:bgPr>
        <a:gradFill>
          <a:gsLst>
            <a:gs pos="57000">
              <a:srgbClr val="007B9D"/>
            </a:gs>
            <a:gs pos="37000">
              <a:srgbClr val="00649F"/>
            </a:gs>
            <a:gs pos="0">
              <a:srgbClr val="004C9A"/>
            </a:gs>
            <a:gs pos="100000">
              <a:srgbClr val="008898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ECAD9894-B8A2-5A51-40E3-2E8C79B3DD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667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ECAD9894-B8A2-5A51-40E3-2E8C79B3DD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23C23276-581F-C880-1CF6-1ABE305DCE9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826854" y="0"/>
            <a:ext cx="6365147" cy="5721118"/>
          </a:xfrm>
          <a:custGeom>
            <a:avLst/>
            <a:gdLst>
              <a:gd name="connsiteX0" fmla="*/ 1031642 w 6365147"/>
              <a:gd name="connsiteY0" fmla="*/ 0 h 5721118"/>
              <a:gd name="connsiteX1" fmla="*/ 5607920 w 6365147"/>
              <a:gd name="connsiteY1" fmla="*/ 0 h 5721118"/>
              <a:gd name="connsiteX2" fmla="*/ 5667221 w 6365147"/>
              <a:gd name="connsiteY2" fmla="*/ 53896 h 5721118"/>
              <a:gd name="connsiteX3" fmla="*/ 6238882 w 6365147"/>
              <a:gd name="connsiteY3" fmla="*/ 818931 h 5721118"/>
              <a:gd name="connsiteX4" fmla="*/ 6365147 w 6365147"/>
              <a:gd name="connsiteY4" fmla="*/ 1081040 h 5721118"/>
              <a:gd name="connsiteX5" fmla="*/ 6365147 w 6365147"/>
              <a:gd name="connsiteY5" fmla="*/ 3721632 h 5721118"/>
              <a:gd name="connsiteX6" fmla="*/ 6238882 w 6365147"/>
              <a:gd name="connsiteY6" fmla="*/ 3983741 h 5721118"/>
              <a:gd name="connsiteX7" fmla="*/ 3319781 w 6365147"/>
              <a:gd name="connsiteY7" fmla="*/ 5721118 h 5721118"/>
              <a:gd name="connsiteX8" fmla="*/ 0 w 6365147"/>
              <a:gd name="connsiteY8" fmla="*/ 2401336 h 5721118"/>
              <a:gd name="connsiteX9" fmla="*/ 972342 w 6365147"/>
              <a:gd name="connsiteY9" fmla="*/ 53896 h 5721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365147" h="5721118">
                <a:moveTo>
                  <a:pt x="1031642" y="0"/>
                </a:moveTo>
                <a:lnTo>
                  <a:pt x="5607920" y="0"/>
                </a:lnTo>
                <a:lnTo>
                  <a:pt x="5667221" y="53896"/>
                </a:lnTo>
                <a:cubicBezTo>
                  <a:pt x="5892507" y="279182"/>
                  <a:pt x="6085564" y="536697"/>
                  <a:pt x="6238882" y="818931"/>
                </a:cubicBezTo>
                <a:lnTo>
                  <a:pt x="6365147" y="1081040"/>
                </a:lnTo>
                <a:lnTo>
                  <a:pt x="6365147" y="3721632"/>
                </a:lnTo>
                <a:lnTo>
                  <a:pt x="6238882" y="3983741"/>
                </a:lnTo>
                <a:cubicBezTo>
                  <a:pt x="5676713" y="5018601"/>
                  <a:pt x="4580288" y="5721118"/>
                  <a:pt x="3319781" y="5721118"/>
                </a:cubicBezTo>
                <a:cubicBezTo>
                  <a:pt x="1486317" y="5721118"/>
                  <a:pt x="0" y="4234801"/>
                  <a:pt x="0" y="2401336"/>
                </a:cubicBezTo>
                <a:cubicBezTo>
                  <a:pt x="0" y="1484604"/>
                  <a:pt x="371580" y="654658"/>
                  <a:pt x="972342" y="53896"/>
                </a:cubicBezTo>
                <a:close/>
              </a:path>
            </a:pathLst>
          </a:custGeom>
          <a:solidFill>
            <a:schemeClr val="bg2">
              <a:alpha val="47000"/>
            </a:schemeClr>
          </a:solidFill>
        </p:spPr>
        <p:txBody>
          <a:bodyPr wrap="square">
            <a:noAutofit/>
          </a:bodyPr>
          <a:lstStyle/>
          <a:p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B98C35-7E26-5A4C-C1BF-B0E4721B52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4012" y="209619"/>
            <a:ext cx="6751782" cy="2387600"/>
          </a:xfrm>
        </p:spPr>
        <p:txBody>
          <a:bodyPr vert="horz" anchor="b">
            <a:normAutofit/>
          </a:bodyPr>
          <a:lstStyle>
            <a:lvl1pPr algn="l">
              <a:defRPr sz="5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82CA99DA-0976-F351-B50A-2F0C4E12F49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64012" y="4996806"/>
            <a:ext cx="2510262" cy="1307978"/>
          </a:xfrm>
          <a:prstGeom prst="rect">
            <a:avLst/>
          </a:prstGeom>
        </p:spPr>
      </p:pic>
      <p:sp>
        <p:nvSpPr>
          <p:cNvPr id="3" name="Untertitel 2">
            <a:extLst>
              <a:ext uri="{FF2B5EF4-FFF2-40B4-BE49-F238E27FC236}">
                <a16:creationId xmlns:a16="http://schemas.microsoft.com/office/drawing/2014/main" id="{834E2A02-E20E-0919-A5FE-BBE4ABF01B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4012" y="2689293"/>
            <a:ext cx="6751782" cy="3794633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5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Master-Untertitelformat bearbeiten</a:t>
            </a:r>
          </a:p>
          <a:p>
            <a:pPr lvl="1"/>
            <a:r>
              <a:rPr lang="de-DE"/>
              <a:t>2</a:t>
            </a:r>
          </a:p>
          <a:p>
            <a:pPr lvl="2"/>
            <a:r>
              <a:rPr lang="de-DE"/>
              <a:t>3</a:t>
            </a:r>
          </a:p>
          <a:p>
            <a:pPr lvl="3"/>
            <a:r>
              <a:rPr lang="de-DE"/>
              <a:t>4</a:t>
            </a:r>
          </a:p>
          <a:p>
            <a:pPr lvl="4"/>
            <a:r>
              <a:rPr lang="de-DE"/>
              <a:t>5</a:t>
            </a:r>
          </a:p>
          <a:p>
            <a:pPr lvl="5"/>
            <a:r>
              <a:rPr lang="de-DE"/>
              <a:t>6</a:t>
            </a:r>
          </a:p>
          <a:p>
            <a:pPr lvl="6"/>
            <a:r>
              <a:rPr lang="de-DE"/>
              <a:t>7</a:t>
            </a:r>
          </a:p>
          <a:p>
            <a:pPr lvl="7"/>
            <a:r>
              <a:rPr lang="de-DE"/>
              <a:t>8</a:t>
            </a:r>
          </a:p>
          <a:p>
            <a:pPr lvl="8"/>
            <a:r>
              <a:rPr lang="de-DE"/>
              <a:t>9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870427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Frei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5490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8CCFECA-7978-D051-BB72-9D7EF7108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400" y="1588656"/>
            <a:ext cx="6900599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5272601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158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56ABDA6A-A098-817B-4EBD-CFC52D884103}"/>
              </a:ext>
            </a:extLst>
          </p:cNvPr>
          <p:cNvSpPr/>
          <p:nvPr userDrawn="1"/>
        </p:nvSpPr>
        <p:spPr>
          <a:xfrm>
            <a:off x="6095998" y="0"/>
            <a:ext cx="6096001" cy="6176964"/>
          </a:xfrm>
          <a:custGeom>
            <a:avLst/>
            <a:gdLst>
              <a:gd name="connsiteX0" fmla="*/ 719400 w 12192000"/>
              <a:gd name="connsiteY0" fmla="*/ 1185290 h 6176964"/>
              <a:gd name="connsiteX1" fmla="*/ 719400 w 12192000"/>
              <a:gd name="connsiteY1" fmla="*/ 1250090 h 6176964"/>
              <a:gd name="connsiteX2" fmla="*/ 2699400 w 12192000"/>
              <a:gd name="connsiteY2" fmla="*/ 1250090 h 6176964"/>
              <a:gd name="connsiteX3" fmla="*/ 2699400 w 12192000"/>
              <a:gd name="connsiteY3" fmla="*/ 1185290 h 6176964"/>
              <a:gd name="connsiteX4" fmla="*/ 0 w 12192000"/>
              <a:gd name="connsiteY4" fmla="*/ 0 h 6176964"/>
              <a:gd name="connsiteX5" fmla="*/ 12192000 w 12192000"/>
              <a:gd name="connsiteY5" fmla="*/ 0 h 6176964"/>
              <a:gd name="connsiteX6" fmla="*/ 12192000 w 12192000"/>
              <a:gd name="connsiteY6" fmla="*/ 6176964 h 6176964"/>
              <a:gd name="connsiteX7" fmla="*/ 0 w 12192000"/>
              <a:gd name="connsiteY7" fmla="*/ 6176964 h 6176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176964">
                <a:moveTo>
                  <a:pt x="719400" y="1185290"/>
                </a:moveTo>
                <a:lnTo>
                  <a:pt x="719400" y="1250090"/>
                </a:lnTo>
                <a:lnTo>
                  <a:pt x="2699400" y="1250090"/>
                </a:lnTo>
                <a:lnTo>
                  <a:pt x="2699400" y="118529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176964"/>
                </a:lnTo>
                <a:lnTo>
                  <a:pt x="0" y="6176964"/>
                </a:lnTo>
                <a:close/>
              </a:path>
            </a:pathLst>
          </a:custGeom>
          <a:gradFill>
            <a:gsLst>
              <a:gs pos="73441">
                <a:srgbClr val="006B99"/>
              </a:gs>
              <a:gs pos="31900">
                <a:srgbClr val="00579A"/>
              </a:gs>
              <a:gs pos="0">
                <a:srgbClr val="00499A"/>
              </a:gs>
              <a:gs pos="100000">
                <a:srgbClr val="007B9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5016600" cy="1080656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05D378F-E0F1-6402-9CDA-98F867F294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9400" y="1588656"/>
            <a:ext cx="5016600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3A83C84B-378F-4865-C610-0B22CC88E1C3}"/>
              </a:ext>
            </a:extLst>
          </p:cNvPr>
          <p:cNvSpPr/>
          <p:nvPr userDrawn="1"/>
        </p:nvSpPr>
        <p:spPr>
          <a:xfrm>
            <a:off x="6096000" y="0"/>
            <a:ext cx="6096000" cy="6176964"/>
          </a:xfrm>
          <a:prstGeom prst="rect">
            <a:avLst/>
          </a:prstGeom>
          <a:gradFill>
            <a:gsLst>
              <a:gs pos="73441">
                <a:srgbClr val="006B99"/>
              </a:gs>
              <a:gs pos="31900">
                <a:srgbClr val="00579A"/>
              </a:gs>
              <a:gs pos="0">
                <a:srgbClr val="00499A"/>
              </a:gs>
              <a:gs pos="100000">
                <a:srgbClr val="007B9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0857305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8154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7696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00" y="0"/>
            <a:ext cx="5016600" cy="1080656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05D378F-E0F1-6402-9CDA-98F867F294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56000" y="1588656"/>
            <a:ext cx="5016600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FC0E45A-0F18-0582-C2E9-0C21DC7FE0FD}"/>
              </a:ext>
            </a:extLst>
          </p:cNvPr>
          <p:cNvSpPr/>
          <p:nvPr userDrawn="1"/>
        </p:nvSpPr>
        <p:spPr>
          <a:xfrm>
            <a:off x="6456000" y="1185290"/>
            <a:ext cx="1980000" cy="64800"/>
          </a:xfrm>
          <a:prstGeom prst="rect">
            <a:avLst/>
          </a:prstGeom>
          <a:solidFill>
            <a:srgbClr val="004A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08276771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9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6601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5998" y="179998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D37751CA-77A6-2816-A3E2-93047BF28A0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91998" y="179998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9DADCBC3-C4C8-4C7C-E440-FCBC7D92786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107996" y="179998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6BD2E061-D825-99CE-4EA9-C819ECAD6CD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75998" y="2182986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0C197267-6BA2-F330-99F8-F4F031C1370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91997" y="2182986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6A1B78EA-2DC5-6F73-0235-7F17EEFED34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107997" y="2182986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9" name="Bildplatzhalter 6">
            <a:extLst>
              <a:ext uri="{FF2B5EF4-FFF2-40B4-BE49-F238E27FC236}">
                <a16:creationId xmlns:a16="http://schemas.microsoft.com/office/drawing/2014/main" id="{C2B28397-A39D-7D39-A455-B77BD6217F5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75998" y="4185974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0" name="Bildplatzhalter 6">
            <a:extLst>
              <a:ext uri="{FF2B5EF4-FFF2-40B4-BE49-F238E27FC236}">
                <a16:creationId xmlns:a16="http://schemas.microsoft.com/office/drawing/2014/main" id="{3FF7C958-FC28-ABB8-12CA-FAD825F5E6F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91998" y="4185974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886BE4BA-199F-50CA-F922-EFC0D01F83D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0107996" y="4185974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399" y="180000"/>
            <a:ext cx="5196600" cy="900656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24" name="Textplatzhalter 21">
            <a:extLst>
              <a:ext uri="{FF2B5EF4-FFF2-40B4-BE49-F238E27FC236}">
                <a16:creationId xmlns:a16="http://schemas.microsoft.com/office/drawing/2014/main" id="{435A29B7-90DD-A2D4-234A-7101683E518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903997" y="1894986"/>
            <a:ext cx="216000" cy="216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5" name="Textplatzhalter 21">
            <a:extLst>
              <a:ext uri="{FF2B5EF4-FFF2-40B4-BE49-F238E27FC236}">
                <a16:creationId xmlns:a16="http://schemas.microsoft.com/office/drawing/2014/main" id="{FB729990-18F7-7574-29E6-4905AAC683C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819997" y="1894986"/>
            <a:ext cx="216000" cy="216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6" name="Textplatzhalter 21">
            <a:extLst>
              <a:ext uri="{FF2B5EF4-FFF2-40B4-BE49-F238E27FC236}">
                <a16:creationId xmlns:a16="http://schemas.microsoft.com/office/drawing/2014/main" id="{D105281E-8EB0-583E-4D69-5F6E046C3F0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735996" y="1894986"/>
            <a:ext cx="216000" cy="216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7" name="Textplatzhalter 21">
            <a:extLst>
              <a:ext uri="{FF2B5EF4-FFF2-40B4-BE49-F238E27FC236}">
                <a16:creationId xmlns:a16="http://schemas.microsoft.com/office/drawing/2014/main" id="{C83565C1-5285-E94A-60DD-16E3A675CF8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903997" y="3897974"/>
            <a:ext cx="216000" cy="216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8" name="Textplatzhalter 21">
            <a:extLst>
              <a:ext uri="{FF2B5EF4-FFF2-40B4-BE49-F238E27FC236}">
                <a16:creationId xmlns:a16="http://schemas.microsoft.com/office/drawing/2014/main" id="{131992C7-DC63-3A14-FE03-D483D8DCFAF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819997" y="3897974"/>
            <a:ext cx="216000" cy="216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9" name="Textplatzhalter 21">
            <a:extLst>
              <a:ext uri="{FF2B5EF4-FFF2-40B4-BE49-F238E27FC236}">
                <a16:creationId xmlns:a16="http://schemas.microsoft.com/office/drawing/2014/main" id="{1674CAD0-681F-7033-B6B6-7E310E1757F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735996" y="3897974"/>
            <a:ext cx="216000" cy="216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30" name="Textplatzhalter 21">
            <a:extLst>
              <a:ext uri="{FF2B5EF4-FFF2-40B4-BE49-F238E27FC236}">
                <a16:creationId xmlns:a16="http://schemas.microsoft.com/office/drawing/2014/main" id="{149FE609-B663-F204-000F-C09916E86AD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903997" y="5900962"/>
            <a:ext cx="216000" cy="216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31" name="Textplatzhalter 21">
            <a:extLst>
              <a:ext uri="{FF2B5EF4-FFF2-40B4-BE49-F238E27FC236}">
                <a16:creationId xmlns:a16="http://schemas.microsoft.com/office/drawing/2014/main" id="{67C59675-1AFB-5CE8-293E-E932233130C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819997" y="5900962"/>
            <a:ext cx="216000" cy="216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32" name="Textplatzhalter 21">
            <a:extLst>
              <a:ext uri="{FF2B5EF4-FFF2-40B4-BE49-F238E27FC236}">
                <a16:creationId xmlns:a16="http://schemas.microsoft.com/office/drawing/2014/main" id="{D906EE30-5A9F-6097-733F-43BFF9E2D19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735996" y="5900962"/>
            <a:ext cx="216000" cy="216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93383593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9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6601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5998" y="179998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D37751CA-77A6-2816-A3E2-93047BF28A0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91998" y="179998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9DADCBC3-C4C8-4C7C-E440-FCBC7D92786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107996" y="179998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6BD2E061-D825-99CE-4EA9-C819ECAD6CD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75998" y="2182986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0C197267-6BA2-F330-99F8-F4F031C1370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91997" y="2182986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6A1B78EA-2DC5-6F73-0235-7F17EEFED34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107997" y="2182986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9" name="Bildplatzhalter 6">
            <a:extLst>
              <a:ext uri="{FF2B5EF4-FFF2-40B4-BE49-F238E27FC236}">
                <a16:creationId xmlns:a16="http://schemas.microsoft.com/office/drawing/2014/main" id="{C2B28397-A39D-7D39-A455-B77BD6217F5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75998" y="4185974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0" name="Bildplatzhalter 6">
            <a:extLst>
              <a:ext uri="{FF2B5EF4-FFF2-40B4-BE49-F238E27FC236}">
                <a16:creationId xmlns:a16="http://schemas.microsoft.com/office/drawing/2014/main" id="{3FF7C958-FC28-ABB8-12CA-FAD825F5E6F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91998" y="4185974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886BE4BA-199F-50CA-F922-EFC0D01F83D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0107996" y="4185974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399" y="180000"/>
            <a:ext cx="5196600" cy="900656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24" name="Textplatzhalter 21">
            <a:extLst>
              <a:ext uri="{FF2B5EF4-FFF2-40B4-BE49-F238E27FC236}">
                <a16:creationId xmlns:a16="http://schemas.microsoft.com/office/drawing/2014/main" id="{435A29B7-90DD-A2D4-234A-7101683E518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931999" y="1858986"/>
            <a:ext cx="1188000" cy="252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5" name="Textplatzhalter 21">
            <a:extLst>
              <a:ext uri="{FF2B5EF4-FFF2-40B4-BE49-F238E27FC236}">
                <a16:creationId xmlns:a16="http://schemas.microsoft.com/office/drawing/2014/main" id="{FB729990-18F7-7574-29E6-4905AAC683C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847997" y="1858986"/>
            <a:ext cx="1188000" cy="252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6" name="Textplatzhalter 21">
            <a:extLst>
              <a:ext uri="{FF2B5EF4-FFF2-40B4-BE49-F238E27FC236}">
                <a16:creationId xmlns:a16="http://schemas.microsoft.com/office/drawing/2014/main" id="{D105281E-8EB0-583E-4D69-5F6E046C3F0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763996" y="1858986"/>
            <a:ext cx="1188000" cy="252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7" name="Textplatzhalter 21">
            <a:extLst>
              <a:ext uri="{FF2B5EF4-FFF2-40B4-BE49-F238E27FC236}">
                <a16:creationId xmlns:a16="http://schemas.microsoft.com/office/drawing/2014/main" id="{C83565C1-5285-E94A-60DD-16E3A675CF8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931997" y="3861974"/>
            <a:ext cx="1188000" cy="252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8" name="Textplatzhalter 21">
            <a:extLst>
              <a:ext uri="{FF2B5EF4-FFF2-40B4-BE49-F238E27FC236}">
                <a16:creationId xmlns:a16="http://schemas.microsoft.com/office/drawing/2014/main" id="{131992C7-DC63-3A14-FE03-D483D8DCFAF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847997" y="3861974"/>
            <a:ext cx="1188000" cy="252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9" name="Textplatzhalter 21">
            <a:extLst>
              <a:ext uri="{FF2B5EF4-FFF2-40B4-BE49-F238E27FC236}">
                <a16:creationId xmlns:a16="http://schemas.microsoft.com/office/drawing/2014/main" id="{1674CAD0-681F-7033-B6B6-7E310E1757F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763996" y="3861974"/>
            <a:ext cx="1188000" cy="252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30" name="Textplatzhalter 21">
            <a:extLst>
              <a:ext uri="{FF2B5EF4-FFF2-40B4-BE49-F238E27FC236}">
                <a16:creationId xmlns:a16="http://schemas.microsoft.com/office/drawing/2014/main" id="{149FE609-B663-F204-000F-C09916E86AD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31997" y="5864962"/>
            <a:ext cx="1188000" cy="252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31" name="Textplatzhalter 21">
            <a:extLst>
              <a:ext uri="{FF2B5EF4-FFF2-40B4-BE49-F238E27FC236}">
                <a16:creationId xmlns:a16="http://schemas.microsoft.com/office/drawing/2014/main" id="{67C59675-1AFB-5CE8-293E-E932233130C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7997" y="5864962"/>
            <a:ext cx="1188000" cy="252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32" name="Textplatzhalter 21">
            <a:extLst>
              <a:ext uri="{FF2B5EF4-FFF2-40B4-BE49-F238E27FC236}">
                <a16:creationId xmlns:a16="http://schemas.microsoft.com/office/drawing/2014/main" id="{D906EE30-5A9F-6097-733F-43BFF9E2D19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763996" y="5864962"/>
            <a:ext cx="1188000" cy="252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41476858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1588656"/>
            <a:ext cx="3344400" cy="458830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3BF2161A-1D67-0864-E091-399EA2349EA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23800" y="1588656"/>
            <a:ext cx="3344400" cy="458830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1DD3B35-DC6D-F9CC-A8C3-ECA856B9AB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28201" y="1588656"/>
            <a:ext cx="3344400" cy="4588308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</a:t>
            </a:r>
          </a:p>
          <a:p>
            <a:pPr lvl="6"/>
            <a:r>
              <a:rPr lang="de-DE"/>
              <a:t>Siebte</a:t>
            </a:r>
          </a:p>
          <a:p>
            <a:pPr lvl="7"/>
            <a:r>
              <a:rPr lang="de-DE"/>
              <a:t>Achte</a:t>
            </a:r>
          </a:p>
          <a:p>
            <a:pPr lvl="8"/>
            <a:r>
              <a:rPr lang="de-DE"/>
              <a:t>Neunte</a:t>
            </a:r>
          </a:p>
          <a:p>
            <a:pPr lvl="5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5009506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1588656"/>
            <a:ext cx="2418300" cy="211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4F0F21B9-64AF-633E-8130-D4995B5BD5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497700" y="1588656"/>
            <a:ext cx="2418300" cy="211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1FB61E3F-5E2E-4C78-712D-C76998CD056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76000" y="1588656"/>
            <a:ext cx="2418300" cy="211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7841893D-BB8E-7668-A0A2-9276F7ED6DE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054300" y="1588656"/>
            <a:ext cx="2418300" cy="211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0710F704-F0C7-20AD-79A2-0C3E0A62A37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19400" y="4062810"/>
            <a:ext cx="2418300" cy="211415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7" name="Textplatzhalter 14">
            <a:extLst>
              <a:ext uri="{FF2B5EF4-FFF2-40B4-BE49-F238E27FC236}">
                <a16:creationId xmlns:a16="http://schemas.microsoft.com/office/drawing/2014/main" id="{0569FE23-9EEC-1B58-1278-0874641648C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497700" y="4062810"/>
            <a:ext cx="2418300" cy="211415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B341914A-3459-0005-FFB1-0DBEE2F9D06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76000" y="4062810"/>
            <a:ext cx="2418300" cy="211415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9" name="Textplatzhalter 14">
            <a:extLst>
              <a:ext uri="{FF2B5EF4-FFF2-40B4-BE49-F238E27FC236}">
                <a16:creationId xmlns:a16="http://schemas.microsoft.com/office/drawing/2014/main" id="{AAD9735B-1483-FC6A-17F2-222D6BE5053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54300" y="4062810"/>
            <a:ext cx="2418300" cy="211415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3085596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2259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A65709-8141-ABAA-A230-327EB45438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C70E5E-E921-12AC-50FA-1CF1D146B5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7D69E9-8798-C849-BAD2-446E4866B9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1075414-9429-3974-EF8C-4E7BA73D76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574582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9_Nur Tite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7093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A65709-8141-ABAA-A230-327EB45438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40599F1-7948-82E5-F9C4-847CFD9C69C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48441" y="6324952"/>
            <a:ext cx="725116" cy="377823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DB4F5FD9-6E60-1180-8DE9-41DDBC293EDF}"/>
              </a:ext>
            </a:extLst>
          </p:cNvPr>
          <p:cNvSpPr/>
          <p:nvPr userDrawn="1"/>
        </p:nvSpPr>
        <p:spPr>
          <a:xfrm>
            <a:off x="719400" y="1185290"/>
            <a:ext cx="1980000" cy="6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479975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8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503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F739FF33-8F20-94A6-C925-699A0EB1D73E}"/>
              </a:ext>
            </a:extLst>
          </p:cNvPr>
          <p:cNvSpPr/>
          <p:nvPr userDrawn="1"/>
        </p:nvSpPr>
        <p:spPr>
          <a:xfrm>
            <a:off x="0" y="0"/>
            <a:ext cx="12192000" cy="6176964"/>
          </a:xfrm>
          <a:custGeom>
            <a:avLst/>
            <a:gdLst>
              <a:gd name="connsiteX0" fmla="*/ 719400 w 12192000"/>
              <a:gd name="connsiteY0" fmla="*/ 1185290 h 6176964"/>
              <a:gd name="connsiteX1" fmla="*/ 719400 w 12192000"/>
              <a:gd name="connsiteY1" fmla="*/ 1250090 h 6176964"/>
              <a:gd name="connsiteX2" fmla="*/ 2699400 w 12192000"/>
              <a:gd name="connsiteY2" fmla="*/ 1250090 h 6176964"/>
              <a:gd name="connsiteX3" fmla="*/ 2699400 w 12192000"/>
              <a:gd name="connsiteY3" fmla="*/ 1185290 h 6176964"/>
              <a:gd name="connsiteX4" fmla="*/ 0 w 12192000"/>
              <a:gd name="connsiteY4" fmla="*/ 0 h 6176964"/>
              <a:gd name="connsiteX5" fmla="*/ 12192000 w 12192000"/>
              <a:gd name="connsiteY5" fmla="*/ 0 h 6176964"/>
              <a:gd name="connsiteX6" fmla="*/ 12192000 w 12192000"/>
              <a:gd name="connsiteY6" fmla="*/ 6176964 h 6176964"/>
              <a:gd name="connsiteX7" fmla="*/ 0 w 12192000"/>
              <a:gd name="connsiteY7" fmla="*/ 6176964 h 6176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176964">
                <a:moveTo>
                  <a:pt x="719400" y="1185290"/>
                </a:moveTo>
                <a:lnTo>
                  <a:pt x="719400" y="1250090"/>
                </a:lnTo>
                <a:lnTo>
                  <a:pt x="2699400" y="1250090"/>
                </a:lnTo>
                <a:lnTo>
                  <a:pt x="2699400" y="118529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176964"/>
                </a:lnTo>
                <a:lnTo>
                  <a:pt x="0" y="6176964"/>
                </a:lnTo>
                <a:close/>
              </a:path>
            </a:pathLst>
          </a:custGeom>
          <a:gradFill>
            <a:gsLst>
              <a:gs pos="73441">
                <a:srgbClr val="006B99"/>
              </a:gs>
              <a:gs pos="31900">
                <a:srgbClr val="00579A"/>
              </a:gs>
              <a:gs pos="0">
                <a:srgbClr val="00499A"/>
              </a:gs>
              <a:gs pos="100000">
                <a:srgbClr val="007B9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DA65709-8141-ABAA-A230-327EB45438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C70E5E-E921-12AC-50FA-1CF1D146B5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7D69E9-8798-C849-BAD2-446E4866B9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1075414-9429-3974-EF8C-4E7BA73D76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pic>
        <p:nvPicPr>
          <p:cNvPr id="11" name="Picture 6" descr="Logo&#10;&#10;Description automatically generated">
            <a:extLst>
              <a:ext uri="{FF2B5EF4-FFF2-40B4-BE49-F238E27FC236}">
                <a16:creationId xmlns:a16="http://schemas.microsoft.com/office/drawing/2014/main" id="{C5DB168C-6CAB-FDD0-2F8A-273A8B40D6C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10748441" y="6324952"/>
            <a:ext cx="724160" cy="377823"/>
          </a:xfrm>
          <a:prstGeom prst="rect">
            <a:avLst/>
          </a:prstGeom>
        </p:spPr>
      </p:pic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63AFE5C1-10D1-A044-CBAA-9E5959B65691}"/>
              </a:ext>
            </a:extLst>
          </p:cNvPr>
          <p:cNvCxnSpPr/>
          <p:nvPr userDrawn="1"/>
        </p:nvCxnSpPr>
        <p:spPr>
          <a:xfrm>
            <a:off x="6096000" y="6558344"/>
            <a:ext cx="0" cy="197042"/>
          </a:xfrm>
          <a:prstGeom prst="line">
            <a:avLst/>
          </a:prstGeom>
          <a:ln w="19050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273357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2259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A65709-8141-ABAA-A230-327EB45438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C70E5E-E921-12AC-50FA-1CF1D146B5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7D69E9-8798-C849-BAD2-446E4866B9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1075414-9429-3974-EF8C-4E7BA73D76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E6CC737-E0BB-1F6E-AEA3-594F69068E8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93813" y="2208213"/>
            <a:ext cx="2520950" cy="2520950"/>
          </a:xfrm>
          <a:prstGeom prst="ellipse">
            <a:avLst/>
          </a:prstGeom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837855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5490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8CCFECA-7978-D051-BB72-9D7EF7108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400" y="1588656"/>
            <a:ext cx="5196600" cy="45883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9B9D9A30-77FC-E723-743C-A05BFB8BE6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6000" y="1588656"/>
            <a:ext cx="5196600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1536092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342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Bildplatzhalter 7">
            <a:extLst>
              <a:ext uri="{FF2B5EF4-FFF2-40B4-BE49-F238E27FC236}">
                <a16:creationId xmlns:a16="http://schemas.microsoft.com/office/drawing/2014/main" id="{A9FBE15C-7B54-ED2F-BCBF-0B14E31D71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423200" y="0"/>
            <a:ext cx="4768800" cy="333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DD4EF2ED-35D5-7DA6-08F1-FF3E736B36B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2432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0" name="Bildplatzhalter 7">
            <a:extLst>
              <a:ext uri="{FF2B5EF4-FFF2-40B4-BE49-F238E27FC236}">
                <a16:creationId xmlns:a16="http://schemas.microsoft.com/office/drawing/2014/main" id="{F6C4FD13-A04F-A723-F557-D669197A9AF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423200" y="3519000"/>
            <a:ext cx="4768800" cy="333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9" name="Textplatzhalter 21">
            <a:extLst>
              <a:ext uri="{FF2B5EF4-FFF2-40B4-BE49-F238E27FC236}">
                <a16:creationId xmlns:a16="http://schemas.microsoft.com/office/drawing/2014/main" id="{87BB9C5A-DA6C-ACE1-91D6-F9455258B2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803200" y="6498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0" name="Textplatzhalter 21">
            <a:extLst>
              <a:ext uri="{FF2B5EF4-FFF2-40B4-BE49-F238E27FC236}">
                <a16:creationId xmlns:a16="http://schemas.microsoft.com/office/drawing/2014/main" id="{9B9669DA-CD6F-141B-2646-C514BAF0C23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752001" y="2979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1" name="Textplatzhalter 21">
            <a:extLst>
              <a:ext uri="{FF2B5EF4-FFF2-40B4-BE49-F238E27FC236}">
                <a16:creationId xmlns:a16="http://schemas.microsoft.com/office/drawing/2014/main" id="{94199FAA-A59E-6952-ED63-DDF4C7A6ABA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752001" y="6498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28571112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+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342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Bildplatzhalter 7">
            <a:extLst>
              <a:ext uri="{FF2B5EF4-FFF2-40B4-BE49-F238E27FC236}">
                <a16:creationId xmlns:a16="http://schemas.microsoft.com/office/drawing/2014/main" id="{A9FBE15C-7B54-ED2F-BCBF-0B14E31D71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423200" y="0"/>
            <a:ext cx="4768800" cy="333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F3421B65-75D9-E551-7206-80402C4B038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243200" cy="6858000"/>
          </a:xfrm>
          <a:custGeom>
            <a:avLst/>
            <a:gdLst>
              <a:gd name="connsiteX0" fmla="*/ 719400 w 7243200"/>
              <a:gd name="connsiteY0" fmla="*/ 1185290 h 6858000"/>
              <a:gd name="connsiteX1" fmla="*/ 719400 w 7243200"/>
              <a:gd name="connsiteY1" fmla="*/ 1250090 h 6858000"/>
              <a:gd name="connsiteX2" fmla="*/ 2699400 w 7243200"/>
              <a:gd name="connsiteY2" fmla="*/ 1250090 h 6858000"/>
              <a:gd name="connsiteX3" fmla="*/ 2699400 w 7243200"/>
              <a:gd name="connsiteY3" fmla="*/ 1185290 h 6858000"/>
              <a:gd name="connsiteX4" fmla="*/ 0 w 7243200"/>
              <a:gd name="connsiteY4" fmla="*/ 0 h 6858000"/>
              <a:gd name="connsiteX5" fmla="*/ 7243200 w 7243200"/>
              <a:gd name="connsiteY5" fmla="*/ 0 h 6858000"/>
              <a:gd name="connsiteX6" fmla="*/ 7243200 w 7243200"/>
              <a:gd name="connsiteY6" fmla="*/ 6858000 h 6858000"/>
              <a:gd name="connsiteX7" fmla="*/ 0 w 724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43200" h="6858000">
                <a:moveTo>
                  <a:pt x="719400" y="1185290"/>
                </a:moveTo>
                <a:lnTo>
                  <a:pt x="719400" y="1250090"/>
                </a:lnTo>
                <a:lnTo>
                  <a:pt x="2699400" y="1250090"/>
                </a:lnTo>
                <a:lnTo>
                  <a:pt x="2699400" y="1185290"/>
                </a:lnTo>
                <a:close/>
                <a:moveTo>
                  <a:pt x="0" y="0"/>
                </a:moveTo>
                <a:lnTo>
                  <a:pt x="7243200" y="0"/>
                </a:lnTo>
                <a:lnTo>
                  <a:pt x="72432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de-CH"/>
          </a:p>
        </p:txBody>
      </p:sp>
      <p:sp>
        <p:nvSpPr>
          <p:cNvPr id="20" name="Bildplatzhalter 7">
            <a:extLst>
              <a:ext uri="{FF2B5EF4-FFF2-40B4-BE49-F238E27FC236}">
                <a16:creationId xmlns:a16="http://schemas.microsoft.com/office/drawing/2014/main" id="{F6C4FD13-A04F-A723-F557-D669197A9AF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423200" y="3519000"/>
            <a:ext cx="4768800" cy="333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9" name="Textplatzhalter 21">
            <a:extLst>
              <a:ext uri="{FF2B5EF4-FFF2-40B4-BE49-F238E27FC236}">
                <a16:creationId xmlns:a16="http://schemas.microsoft.com/office/drawing/2014/main" id="{87BB9C5A-DA6C-ACE1-91D6-F9455258B2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62813" y="6498000"/>
            <a:ext cx="780387" cy="360000"/>
          </a:xfrm>
          <a:solidFill>
            <a:schemeClr val="tx2">
              <a:alpha val="80000"/>
            </a:schemeClr>
          </a:solidFill>
        </p:spPr>
        <p:txBody>
          <a:bodyPr wrap="none" lIns="180000" tIns="180000" rIns="180000" bIns="180000"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0" name="Textplatzhalter 21">
            <a:extLst>
              <a:ext uri="{FF2B5EF4-FFF2-40B4-BE49-F238E27FC236}">
                <a16:creationId xmlns:a16="http://schemas.microsoft.com/office/drawing/2014/main" id="{9B9669DA-CD6F-141B-2646-C514BAF0C23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411612" y="2979000"/>
            <a:ext cx="780388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1" name="Textplatzhalter 21">
            <a:extLst>
              <a:ext uri="{FF2B5EF4-FFF2-40B4-BE49-F238E27FC236}">
                <a16:creationId xmlns:a16="http://schemas.microsoft.com/office/drawing/2014/main" id="{94199FAA-A59E-6952-ED63-DDF4C7A6ABA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411611" y="6498000"/>
            <a:ext cx="780387" cy="360000"/>
          </a:xfrm>
          <a:solidFill>
            <a:schemeClr val="tx2">
              <a:alpha val="80000"/>
            </a:schemeClr>
          </a:solidFill>
        </p:spPr>
        <p:txBody>
          <a:bodyPr wrap="none" lIns="180000" tIns="180000" rIns="180000" bIns="180000"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C23F135-B5E0-B2C1-EBA4-8C921B7EAE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858400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3813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Medienplatzhalter 17">
            <a:extLst>
              <a:ext uri="{FF2B5EF4-FFF2-40B4-BE49-F238E27FC236}">
                <a16:creationId xmlns:a16="http://schemas.microsoft.com/office/drawing/2014/main" id="{5FCA3402-2169-D2E7-B728-E412D3A6935A}"/>
              </a:ext>
            </a:extLst>
          </p:cNvPr>
          <p:cNvSpPr>
            <a:spLocks noGrp="1"/>
          </p:cNvSpPr>
          <p:nvPr>
            <p:ph type="media" sz="quarter" idx="26"/>
          </p:nvPr>
        </p:nvSpPr>
        <p:spPr>
          <a:xfrm>
            <a:off x="0" y="0"/>
            <a:ext cx="7243200" cy="6858000"/>
          </a:xfrm>
          <a:custGeom>
            <a:avLst/>
            <a:gdLst>
              <a:gd name="connsiteX0" fmla="*/ 719400 w 7243200"/>
              <a:gd name="connsiteY0" fmla="*/ 1185290 h 6858000"/>
              <a:gd name="connsiteX1" fmla="*/ 719400 w 7243200"/>
              <a:gd name="connsiteY1" fmla="*/ 1250090 h 6858000"/>
              <a:gd name="connsiteX2" fmla="*/ 2699400 w 7243200"/>
              <a:gd name="connsiteY2" fmla="*/ 1250090 h 6858000"/>
              <a:gd name="connsiteX3" fmla="*/ 2699400 w 7243200"/>
              <a:gd name="connsiteY3" fmla="*/ 1185290 h 6858000"/>
              <a:gd name="connsiteX4" fmla="*/ 0 w 7243200"/>
              <a:gd name="connsiteY4" fmla="*/ 0 h 6858000"/>
              <a:gd name="connsiteX5" fmla="*/ 7243200 w 7243200"/>
              <a:gd name="connsiteY5" fmla="*/ 0 h 6858000"/>
              <a:gd name="connsiteX6" fmla="*/ 7243200 w 7243200"/>
              <a:gd name="connsiteY6" fmla="*/ 6858000 h 6858000"/>
              <a:gd name="connsiteX7" fmla="*/ 0 w 724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43200" h="6858000">
                <a:moveTo>
                  <a:pt x="719400" y="1185290"/>
                </a:moveTo>
                <a:lnTo>
                  <a:pt x="719400" y="1250090"/>
                </a:lnTo>
                <a:lnTo>
                  <a:pt x="2699400" y="1250090"/>
                </a:lnTo>
                <a:lnTo>
                  <a:pt x="2699400" y="1185290"/>
                </a:lnTo>
                <a:close/>
                <a:moveTo>
                  <a:pt x="0" y="0"/>
                </a:moveTo>
                <a:lnTo>
                  <a:pt x="7243200" y="0"/>
                </a:lnTo>
                <a:lnTo>
                  <a:pt x="7243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endParaRPr lang="de-CH"/>
          </a:p>
        </p:txBody>
      </p:sp>
      <p:sp>
        <p:nvSpPr>
          <p:cNvPr id="19" name="Bildplatzhalter 7">
            <a:extLst>
              <a:ext uri="{FF2B5EF4-FFF2-40B4-BE49-F238E27FC236}">
                <a16:creationId xmlns:a16="http://schemas.microsoft.com/office/drawing/2014/main" id="{A9FBE15C-7B54-ED2F-BCBF-0B14E31D71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423200" y="0"/>
            <a:ext cx="4768800" cy="333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0" name="Bildplatzhalter 7">
            <a:extLst>
              <a:ext uri="{FF2B5EF4-FFF2-40B4-BE49-F238E27FC236}">
                <a16:creationId xmlns:a16="http://schemas.microsoft.com/office/drawing/2014/main" id="{F6C4FD13-A04F-A723-F557-D669197A9AF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423200" y="3519000"/>
            <a:ext cx="4768800" cy="333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9" name="Textplatzhalter 21">
            <a:extLst>
              <a:ext uri="{FF2B5EF4-FFF2-40B4-BE49-F238E27FC236}">
                <a16:creationId xmlns:a16="http://schemas.microsoft.com/office/drawing/2014/main" id="{87BB9C5A-DA6C-ACE1-91D6-F9455258B2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803200" y="6498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0" name="Textplatzhalter 21">
            <a:extLst>
              <a:ext uri="{FF2B5EF4-FFF2-40B4-BE49-F238E27FC236}">
                <a16:creationId xmlns:a16="http://schemas.microsoft.com/office/drawing/2014/main" id="{9B9669DA-CD6F-141B-2646-C514BAF0C23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752001" y="2979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1" name="Textplatzhalter 21">
            <a:extLst>
              <a:ext uri="{FF2B5EF4-FFF2-40B4-BE49-F238E27FC236}">
                <a16:creationId xmlns:a16="http://schemas.microsoft.com/office/drawing/2014/main" id="{94199FAA-A59E-6952-ED63-DDF4C7A6ABA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752001" y="6498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E6620D9-2122-0843-D9A4-2F9CA2A346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9196987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ideo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1219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870A6F81-FBAE-4A54-5412-9A8AA3E6EF9B}"/>
              </a:ext>
            </a:extLst>
          </p:cNvPr>
          <p:cNvSpPr>
            <a:spLocks noGrp="1"/>
          </p:cNvSpPr>
          <p:nvPr>
            <p:ph type="media" sz="quarter" idx="27"/>
          </p:nvPr>
        </p:nvSpPr>
        <p:spPr>
          <a:xfrm>
            <a:off x="0" y="0"/>
            <a:ext cx="7243200" cy="6858000"/>
          </a:xfrm>
        </p:spPr>
        <p:txBody>
          <a:bodyPr/>
          <a:lstStyle/>
          <a:p>
            <a:endParaRPr lang="de-CH"/>
          </a:p>
        </p:txBody>
      </p:sp>
      <p:sp>
        <p:nvSpPr>
          <p:cNvPr id="19" name="Bildplatzhalter 7">
            <a:extLst>
              <a:ext uri="{FF2B5EF4-FFF2-40B4-BE49-F238E27FC236}">
                <a16:creationId xmlns:a16="http://schemas.microsoft.com/office/drawing/2014/main" id="{A9FBE15C-7B54-ED2F-BCBF-0B14E31D71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423200" y="0"/>
            <a:ext cx="4768800" cy="333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0" name="Bildplatzhalter 7">
            <a:extLst>
              <a:ext uri="{FF2B5EF4-FFF2-40B4-BE49-F238E27FC236}">
                <a16:creationId xmlns:a16="http://schemas.microsoft.com/office/drawing/2014/main" id="{F6C4FD13-A04F-A723-F557-D669197A9AF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423200" y="3519000"/>
            <a:ext cx="4768800" cy="333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9" name="Textplatzhalter 21">
            <a:extLst>
              <a:ext uri="{FF2B5EF4-FFF2-40B4-BE49-F238E27FC236}">
                <a16:creationId xmlns:a16="http://schemas.microsoft.com/office/drawing/2014/main" id="{87BB9C5A-DA6C-ACE1-91D6-F9455258B2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803200" y="6498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0" name="Textplatzhalter 21">
            <a:extLst>
              <a:ext uri="{FF2B5EF4-FFF2-40B4-BE49-F238E27FC236}">
                <a16:creationId xmlns:a16="http://schemas.microsoft.com/office/drawing/2014/main" id="{9B9669DA-CD6F-141B-2646-C514BAF0C23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752001" y="2979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1" name="Textplatzhalter 21">
            <a:extLst>
              <a:ext uri="{FF2B5EF4-FFF2-40B4-BE49-F238E27FC236}">
                <a16:creationId xmlns:a16="http://schemas.microsoft.com/office/drawing/2014/main" id="{94199FAA-A59E-6952-ED63-DDF4C7A6ABA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752001" y="6498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53809505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443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Bildplatzhalter 7">
            <a:extLst>
              <a:ext uri="{FF2B5EF4-FFF2-40B4-BE49-F238E27FC236}">
                <a16:creationId xmlns:a16="http://schemas.microsoft.com/office/drawing/2014/main" id="{A9FBE15C-7B54-ED2F-BCBF-0B14E31D71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423200" y="180000"/>
            <a:ext cx="4588800" cy="315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DD4EF2ED-35D5-7DA6-08F1-FF3E736B36B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80000" y="180000"/>
            <a:ext cx="7063200" cy="649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0" name="Bildplatzhalter 7">
            <a:extLst>
              <a:ext uri="{FF2B5EF4-FFF2-40B4-BE49-F238E27FC236}">
                <a16:creationId xmlns:a16="http://schemas.microsoft.com/office/drawing/2014/main" id="{F6C4FD13-A04F-A723-F557-D669197A9AF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423200" y="3519000"/>
            <a:ext cx="4588800" cy="315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9" name="Textplatzhalter 21">
            <a:extLst>
              <a:ext uri="{FF2B5EF4-FFF2-40B4-BE49-F238E27FC236}">
                <a16:creationId xmlns:a16="http://schemas.microsoft.com/office/drawing/2014/main" id="{87BB9C5A-DA6C-ACE1-91D6-F9455258B2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803200" y="6318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0" name="Textplatzhalter 21">
            <a:extLst>
              <a:ext uri="{FF2B5EF4-FFF2-40B4-BE49-F238E27FC236}">
                <a16:creationId xmlns:a16="http://schemas.microsoft.com/office/drawing/2014/main" id="{9B9669DA-CD6F-141B-2646-C514BAF0C23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72000" y="2979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1" name="Textplatzhalter 21">
            <a:extLst>
              <a:ext uri="{FF2B5EF4-FFF2-40B4-BE49-F238E27FC236}">
                <a16:creationId xmlns:a16="http://schemas.microsoft.com/office/drawing/2014/main" id="{94199FAA-A59E-6952-ED63-DDF4C7A6ABA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72000" y="6318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12943092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443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DD4EF2ED-35D5-7DA6-08F1-FF3E736B36B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5" name="Textplatzhalter 21">
            <a:extLst>
              <a:ext uri="{FF2B5EF4-FFF2-40B4-BE49-F238E27FC236}">
                <a16:creationId xmlns:a16="http://schemas.microsoft.com/office/drawing/2014/main" id="{CB4EAA0B-1A66-85E7-D0A6-BD4A940D255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752001" y="6498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62635917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443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DD4EF2ED-35D5-7DA6-08F1-FF3E736B36B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864469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443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DD4EF2ED-35D5-7DA6-08F1-FF3E736B36B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80000" y="180000"/>
            <a:ext cx="11832000" cy="649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5" name="Textplatzhalter 21">
            <a:extLst>
              <a:ext uri="{FF2B5EF4-FFF2-40B4-BE49-F238E27FC236}">
                <a16:creationId xmlns:a16="http://schemas.microsoft.com/office/drawing/2014/main" id="{CB4EAA0B-1A66-85E7-D0A6-BD4A940D255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572000" y="6318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84208552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443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DD4EF2ED-35D5-7DA6-08F1-FF3E736B36B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6" name="Textplatzhalter 18">
            <a:extLst>
              <a:ext uri="{FF2B5EF4-FFF2-40B4-BE49-F238E27FC236}">
                <a16:creationId xmlns:a16="http://schemas.microsoft.com/office/drawing/2014/main" id="{3EEDBFFC-72D3-ECF6-A176-2C905389C30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9400" y="5732059"/>
            <a:ext cx="7108799" cy="7506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600"/>
              </a:spcBef>
              <a:buNone/>
              <a:defRPr sz="1200">
                <a:solidFill>
                  <a:schemeClr val="bg1"/>
                </a:solidFill>
              </a:defRPr>
            </a:lvl3pPr>
            <a:lvl4pPr>
              <a:defRPr sz="1600" b="1">
                <a:solidFill>
                  <a:schemeClr val="bg1"/>
                </a:solidFill>
                <a:latin typeface="+mj-lt"/>
              </a:defRPr>
            </a:lvl4pPr>
            <a:lvl5pPr marL="0" indent="0">
              <a:buNone/>
              <a:defRPr b="1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600"/>
              </a:spcBef>
              <a:buNone/>
              <a:defRPr sz="1200" b="1">
                <a:solidFill>
                  <a:schemeClr val="bg1"/>
                </a:solidFill>
                <a:latin typeface="+mj-lt"/>
              </a:defRPr>
            </a:lvl6pPr>
            <a:lvl7pPr>
              <a:defRPr sz="1600">
                <a:solidFill>
                  <a:schemeClr val="bg1"/>
                </a:solidFill>
              </a:defRPr>
            </a:lvl7pPr>
            <a:lvl8pPr>
              <a:spcAft>
                <a:spcPts val="0"/>
              </a:spcAft>
              <a:defRPr sz="1600" b="0" cap="none" spc="0" baseline="0">
                <a:solidFill>
                  <a:schemeClr val="bg1"/>
                </a:solidFill>
                <a:latin typeface="+mn-lt"/>
              </a:defRPr>
            </a:lvl8pPr>
            <a:lvl9pPr>
              <a:spcBef>
                <a:spcPts val="600"/>
              </a:spcBef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</a:t>
            </a:r>
          </a:p>
          <a:p>
            <a:pPr lvl="6"/>
            <a:r>
              <a:rPr lang="de-DE"/>
              <a:t>Siebte</a:t>
            </a:r>
          </a:p>
          <a:p>
            <a:pPr lvl="7"/>
            <a:r>
              <a:rPr lang="de-DE"/>
              <a:t>Achte</a:t>
            </a:r>
          </a:p>
          <a:p>
            <a:pPr lvl="8"/>
            <a:r>
              <a:rPr lang="de-DE"/>
              <a:t>neunt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4093282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315CE12-2C9C-FC81-104F-740C25E0B9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531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315CE12-2C9C-FC81-104F-740C25E0B9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4930239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1588656"/>
            <a:ext cx="10753200" cy="458830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3115187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Grafik 48">
            <a:extLst>
              <a:ext uri="{FF2B5EF4-FFF2-40B4-BE49-F238E27FC236}">
                <a16:creationId xmlns:a16="http://schemas.microsoft.com/office/drawing/2014/main" id="{96E3F915-43BC-D918-1480-0C0A91AD830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315CE12-2C9C-FC81-104F-740C25E0B9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531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8" progId="TCLayout.ActiveDocument.1">
                  <p:embed/>
                </p:oleObj>
              </mc:Choice>
              <mc:Fallback>
                <p:oleObj name="think-cell Folie" r:id="rId4" imgW="306" imgH="308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315CE12-2C9C-FC81-104F-740C25E0B9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Bildplatzhalter 37">
            <a:extLst>
              <a:ext uri="{FF2B5EF4-FFF2-40B4-BE49-F238E27FC236}">
                <a16:creationId xmlns:a16="http://schemas.microsoft.com/office/drawing/2014/main" id="{081D20E9-C41D-FC9E-D1CB-7C0E26585EA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872663" y="5833429"/>
            <a:ext cx="1354579" cy="533544"/>
          </a:xfrm>
          <a:solidFill>
            <a:schemeClr val="bg1"/>
          </a:solidFill>
        </p:spPr>
        <p:txBody>
          <a:bodyPr/>
          <a:lstStyle>
            <a:lvl1pPr>
              <a:defRPr sz="700"/>
            </a:lvl1pPr>
          </a:lstStyle>
          <a:p>
            <a:endParaRPr lang="de-CH"/>
          </a:p>
        </p:txBody>
      </p:sp>
      <p:sp>
        <p:nvSpPr>
          <p:cNvPr id="47" name="Bildplatzhalter 37">
            <a:extLst>
              <a:ext uri="{FF2B5EF4-FFF2-40B4-BE49-F238E27FC236}">
                <a16:creationId xmlns:a16="http://schemas.microsoft.com/office/drawing/2014/main" id="{AA122D8E-A89A-E89B-5A84-164DA6C6A63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698878" y="5128395"/>
            <a:ext cx="1354579" cy="533544"/>
          </a:xfrm>
          <a:solidFill>
            <a:schemeClr val="bg1"/>
          </a:solidFill>
        </p:spPr>
        <p:txBody>
          <a:bodyPr/>
          <a:lstStyle>
            <a:lvl1pPr>
              <a:defRPr sz="700"/>
            </a:lvl1pPr>
          </a:lstStyle>
          <a:p>
            <a:endParaRPr lang="de-CH"/>
          </a:p>
        </p:txBody>
      </p:sp>
      <p:sp>
        <p:nvSpPr>
          <p:cNvPr id="46" name="Bildplatzhalter 37">
            <a:extLst>
              <a:ext uri="{FF2B5EF4-FFF2-40B4-BE49-F238E27FC236}">
                <a16:creationId xmlns:a16="http://schemas.microsoft.com/office/drawing/2014/main" id="{B9E6D9B1-40F4-66FE-8EDB-05ACF790AC8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0053514" y="4423361"/>
            <a:ext cx="1354579" cy="533544"/>
          </a:xfrm>
          <a:solidFill>
            <a:schemeClr val="bg1"/>
          </a:solidFill>
        </p:spPr>
        <p:txBody>
          <a:bodyPr/>
          <a:lstStyle>
            <a:lvl1pPr>
              <a:defRPr sz="700"/>
            </a:lvl1pPr>
          </a:lstStyle>
          <a:p>
            <a:endParaRPr lang="de-CH"/>
          </a:p>
        </p:txBody>
      </p:sp>
      <p:sp>
        <p:nvSpPr>
          <p:cNvPr id="45" name="Bildplatzhalter 37">
            <a:extLst>
              <a:ext uri="{FF2B5EF4-FFF2-40B4-BE49-F238E27FC236}">
                <a16:creationId xmlns:a16="http://schemas.microsoft.com/office/drawing/2014/main" id="{6F247CC6-4F57-E854-7211-A0DC961A645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698879" y="3718327"/>
            <a:ext cx="1354579" cy="533544"/>
          </a:xfrm>
          <a:solidFill>
            <a:schemeClr val="bg1"/>
          </a:solidFill>
        </p:spPr>
        <p:txBody>
          <a:bodyPr/>
          <a:lstStyle>
            <a:lvl1pPr>
              <a:defRPr sz="700"/>
            </a:lvl1pPr>
          </a:lstStyle>
          <a:p>
            <a:endParaRPr lang="de-CH"/>
          </a:p>
        </p:txBody>
      </p:sp>
      <p:sp>
        <p:nvSpPr>
          <p:cNvPr id="44" name="Bildplatzhalter 37">
            <a:extLst>
              <a:ext uri="{FF2B5EF4-FFF2-40B4-BE49-F238E27FC236}">
                <a16:creationId xmlns:a16="http://schemas.microsoft.com/office/drawing/2014/main" id="{0AC91AF8-8DE3-43C4-AD7C-53A7C9D0C79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872664" y="3013293"/>
            <a:ext cx="1354579" cy="533544"/>
          </a:xfrm>
          <a:solidFill>
            <a:schemeClr val="bg1"/>
          </a:solidFill>
        </p:spPr>
        <p:txBody>
          <a:bodyPr/>
          <a:lstStyle>
            <a:lvl1pPr>
              <a:defRPr sz="700"/>
            </a:lvl1pPr>
          </a:lstStyle>
          <a:p>
            <a:endParaRPr lang="de-CH"/>
          </a:p>
        </p:txBody>
      </p:sp>
      <p:sp>
        <p:nvSpPr>
          <p:cNvPr id="42" name="Bildplatzhalter 37">
            <a:extLst>
              <a:ext uri="{FF2B5EF4-FFF2-40B4-BE49-F238E27FC236}">
                <a16:creationId xmlns:a16="http://schemas.microsoft.com/office/drawing/2014/main" id="{89B553CD-101C-4695-C25E-A5F9280A966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42775" y="4839692"/>
            <a:ext cx="1354579" cy="533544"/>
          </a:xfrm>
          <a:solidFill>
            <a:schemeClr val="bg1"/>
          </a:solidFill>
        </p:spPr>
        <p:txBody>
          <a:bodyPr/>
          <a:lstStyle>
            <a:lvl1pPr>
              <a:defRPr sz="700"/>
            </a:lvl1pPr>
          </a:lstStyle>
          <a:p>
            <a:endParaRPr lang="de-CH"/>
          </a:p>
        </p:txBody>
      </p:sp>
      <p:sp>
        <p:nvSpPr>
          <p:cNvPr id="41" name="Bildplatzhalter 37">
            <a:extLst>
              <a:ext uri="{FF2B5EF4-FFF2-40B4-BE49-F238E27FC236}">
                <a16:creationId xmlns:a16="http://schemas.microsoft.com/office/drawing/2014/main" id="{61C1CB1B-F6F0-DEFC-C9CE-B2D75EF0B4F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4030" y="4202169"/>
            <a:ext cx="1354579" cy="533544"/>
          </a:xfrm>
          <a:solidFill>
            <a:schemeClr val="bg1"/>
          </a:solidFill>
        </p:spPr>
        <p:txBody>
          <a:bodyPr/>
          <a:lstStyle>
            <a:lvl1pPr>
              <a:defRPr sz="700"/>
            </a:lvl1pPr>
          </a:lstStyle>
          <a:p>
            <a:endParaRPr lang="de-CH"/>
          </a:p>
        </p:txBody>
      </p:sp>
      <p:sp>
        <p:nvSpPr>
          <p:cNvPr id="40" name="Bildplatzhalter 37">
            <a:extLst>
              <a:ext uri="{FF2B5EF4-FFF2-40B4-BE49-F238E27FC236}">
                <a16:creationId xmlns:a16="http://schemas.microsoft.com/office/drawing/2014/main" id="{8A26EE22-0DC1-3EFF-154A-86C80887D20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4983" y="3564646"/>
            <a:ext cx="1354579" cy="533544"/>
          </a:xfrm>
          <a:solidFill>
            <a:schemeClr val="bg1"/>
          </a:solidFill>
        </p:spPr>
        <p:txBody>
          <a:bodyPr/>
          <a:lstStyle>
            <a:lvl1pPr>
              <a:defRPr sz="700"/>
            </a:lvl1pPr>
          </a:lstStyle>
          <a:p>
            <a:endParaRPr lang="de-CH"/>
          </a:p>
        </p:txBody>
      </p:sp>
      <p:sp>
        <p:nvSpPr>
          <p:cNvPr id="39" name="Bildplatzhalter 37">
            <a:extLst>
              <a:ext uri="{FF2B5EF4-FFF2-40B4-BE49-F238E27FC236}">
                <a16:creationId xmlns:a16="http://schemas.microsoft.com/office/drawing/2014/main" id="{15A75EC4-F09F-896E-C733-31D5AE068B2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42775" y="2927123"/>
            <a:ext cx="1354579" cy="533544"/>
          </a:xfrm>
          <a:solidFill>
            <a:schemeClr val="bg1"/>
          </a:solidFill>
        </p:spPr>
        <p:txBody>
          <a:bodyPr/>
          <a:lstStyle>
            <a:lvl1pPr>
              <a:defRPr sz="700"/>
            </a:lvl1pPr>
          </a:lstStyle>
          <a:p>
            <a:endParaRPr lang="de-CH"/>
          </a:p>
        </p:txBody>
      </p:sp>
      <p:sp>
        <p:nvSpPr>
          <p:cNvPr id="38" name="Bildplatzhalter 37">
            <a:extLst>
              <a:ext uri="{FF2B5EF4-FFF2-40B4-BE49-F238E27FC236}">
                <a16:creationId xmlns:a16="http://schemas.microsoft.com/office/drawing/2014/main" id="{73DE9BF9-CA4A-2326-40F6-AE682BE911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05201" y="2289600"/>
            <a:ext cx="1354579" cy="533544"/>
          </a:xfrm>
          <a:solidFill>
            <a:schemeClr val="bg1"/>
          </a:solidFill>
        </p:spPr>
        <p:txBody>
          <a:bodyPr/>
          <a:lstStyle>
            <a:lvl1pPr>
              <a:defRPr sz="700"/>
            </a:lvl1pPr>
          </a:lstStyle>
          <a:p>
            <a:endParaRPr lang="de-CH"/>
          </a:p>
        </p:txBody>
      </p:sp>
      <p:sp>
        <p:nvSpPr>
          <p:cNvPr id="43" name="Bildplatzhalter 37">
            <a:extLst>
              <a:ext uri="{FF2B5EF4-FFF2-40B4-BE49-F238E27FC236}">
                <a16:creationId xmlns:a16="http://schemas.microsoft.com/office/drawing/2014/main" id="{AD81039B-439D-438D-6E8C-9C0F7791062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079183" y="6114739"/>
            <a:ext cx="1354579" cy="533544"/>
          </a:xfrm>
          <a:solidFill>
            <a:schemeClr val="bg1"/>
          </a:solidFill>
        </p:spPr>
        <p:txBody>
          <a:bodyPr/>
          <a:lstStyle>
            <a:lvl1pPr>
              <a:defRPr sz="700"/>
            </a:lvl1pPr>
          </a:lstStyle>
          <a:p>
            <a:endParaRPr lang="de-CH"/>
          </a:p>
        </p:txBody>
      </p:sp>
      <p:sp>
        <p:nvSpPr>
          <p:cNvPr id="50" name="Titel 49">
            <a:extLst>
              <a:ext uri="{FF2B5EF4-FFF2-40B4-BE49-F238E27FC236}">
                <a16:creationId xmlns:a16="http://schemas.microsoft.com/office/drawing/2014/main" id="{CB9CEE3E-E79B-5763-A19A-8428158932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-1"/>
            <a:ext cx="9514491" cy="20689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52" name="Bildplatzhalter 37">
            <a:extLst>
              <a:ext uri="{FF2B5EF4-FFF2-40B4-BE49-F238E27FC236}">
                <a16:creationId xmlns:a16="http://schemas.microsoft.com/office/drawing/2014/main" id="{8999A1B7-FCF9-B97E-0754-6569D200809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356574" y="5477215"/>
            <a:ext cx="1354579" cy="533544"/>
          </a:xfrm>
          <a:solidFill>
            <a:schemeClr val="bg1"/>
          </a:solidFill>
        </p:spPr>
        <p:txBody>
          <a:bodyPr/>
          <a:lstStyle>
            <a:lvl1pPr>
              <a:defRPr sz="700"/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6905966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588656"/>
            <a:ext cx="2980500" cy="2249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A02864C5-4366-16ED-6DB2-4C9553AAFB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70500" y="1588656"/>
            <a:ext cx="2980500" cy="2249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9" name="Bildplatzhalter 6">
            <a:extLst>
              <a:ext uri="{FF2B5EF4-FFF2-40B4-BE49-F238E27FC236}">
                <a16:creationId xmlns:a16="http://schemas.microsoft.com/office/drawing/2014/main" id="{6EB26956-3443-2588-79D4-8B011EC1F58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41000" y="1588656"/>
            <a:ext cx="2980500" cy="2249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977FBF0D-D23F-7FC7-08B9-9985D259830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211500" y="1588656"/>
            <a:ext cx="2980500" cy="2249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3" name="Bildplatzhalter 6">
            <a:extLst>
              <a:ext uri="{FF2B5EF4-FFF2-40B4-BE49-F238E27FC236}">
                <a16:creationId xmlns:a16="http://schemas.microsoft.com/office/drawing/2014/main" id="{17919BD3-D254-6B37-C602-AECE968E640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3927810"/>
            <a:ext cx="4515750" cy="2249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6" name="Bildplatzhalter 6">
            <a:extLst>
              <a:ext uri="{FF2B5EF4-FFF2-40B4-BE49-F238E27FC236}">
                <a16:creationId xmlns:a16="http://schemas.microsoft.com/office/drawing/2014/main" id="{6972EA1A-8245-B32A-A51F-7E740763EC8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605750" y="3927810"/>
            <a:ext cx="1445250" cy="2249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7" name="Bildplatzhalter 6">
            <a:extLst>
              <a:ext uri="{FF2B5EF4-FFF2-40B4-BE49-F238E27FC236}">
                <a16:creationId xmlns:a16="http://schemas.microsoft.com/office/drawing/2014/main" id="{8E4E1AA1-113B-0644-8366-C732C0F6698E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141000" y="3927810"/>
            <a:ext cx="2980500" cy="2249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9" name="Bildplatzhalter 6">
            <a:extLst>
              <a:ext uri="{FF2B5EF4-FFF2-40B4-BE49-F238E27FC236}">
                <a16:creationId xmlns:a16="http://schemas.microsoft.com/office/drawing/2014/main" id="{02A562F8-6827-FAF0-6134-3549102813F9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9211500" y="3927810"/>
            <a:ext cx="2980500" cy="2249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9015912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Title, Text and 2 Objects B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Helmholtz MU-Day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auto">
          <a:xfrm>
            <a:off x="407989" y="817501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693" indent="0">
              <a:buNone/>
              <a:defRPr/>
            </a:lvl2pPr>
          </a:lstStyle>
          <a:p>
            <a:pPr lvl="0">
              <a:defRPr/>
            </a:pPr>
            <a:r>
              <a:rPr lang="en-US"/>
              <a:t>Edit Master text styles</a:t>
            </a:r>
            <a:endParaRPr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/>
          </p:nvPr>
        </p:nvSpPr>
        <p:spPr bwMode="auto">
          <a:xfrm>
            <a:off x="407989" y="1406427"/>
            <a:ext cx="7524751" cy="2454375"/>
          </a:xfrm>
        </p:spPr>
        <p:txBody>
          <a:bodyPr/>
          <a:lstStyle/>
          <a:p>
            <a:pPr lvl="0">
              <a:defRPr/>
            </a:pPr>
            <a:r>
              <a:rPr lang="en-US"/>
              <a:t>Edit Master text styles</a:t>
            </a:r>
            <a:endParaRPr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6"/>
          </p:nvPr>
        </p:nvSpPr>
        <p:spPr bwMode="auto">
          <a:xfrm>
            <a:off x="407989" y="3963534"/>
            <a:ext cx="7524751" cy="2454375"/>
          </a:xfrm>
        </p:spPr>
        <p:txBody>
          <a:bodyPr/>
          <a:lstStyle/>
          <a:p>
            <a:pPr lvl="0">
              <a:defRPr/>
            </a:pPr>
            <a:r>
              <a:rPr lang="en-US"/>
              <a:t>Edit Master text styles</a:t>
            </a:r>
            <a:endParaRPr/>
          </a:p>
        </p:txBody>
      </p:sp>
      <p:sp>
        <p:nvSpPr>
          <p:cNvPr id="12" name="Inhaltsplatzhalter 5"/>
          <p:cNvSpPr>
            <a:spLocks noGrp="1"/>
          </p:cNvSpPr>
          <p:nvPr>
            <p:ph sz="quarter" idx="18" hasCustomPrompt="1"/>
          </p:nvPr>
        </p:nvSpPr>
        <p:spPr bwMode="auto">
          <a:xfrm>
            <a:off x="8075614" y="1449389"/>
            <a:ext cx="3708399" cy="2411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" tIns="36000" rIns="72000" bIns="36000"/>
          <a:lstStyle>
            <a:lvl1pPr marL="0" indent="0">
              <a:buNone/>
              <a:defRPr/>
            </a:lvl1pPr>
          </a:lstStyle>
          <a:p>
            <a:pPr lvl="0">
              <a:defRPr/>
            </a:pPr>
            <a:r>
              <a:rPr lang="de-DE"/>
              <a:t>Object </a:t>
            </a:r>
            <a:endParaRPr/>
          </a:p>
        </p:txBody>
      </p:sp>
      <p:sp>
        <p:nvSpPr>
          <p:cNvPr id="13" name="Inhaltsplatzhalter 5"/>
          <p:cNvSpPr>
            <a:spLocks noGrp="1"/>
          </p:cNvSpPr>
          <p:nvPr>
            <p:ph sz="quarter" idx="19" hasCustomPrompt="1"/>
          </p:nvPr>
        </p:nvSpPr>
        <p:spPr bwMode="auto">
          <a:xfrm>
            <a:off x="8075614" y="4005263"/>
            <a:ext cx="3708399" cy="2411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" tIns="36000" rIns="72000" bIns="36000"/>
          <a:lstStyle>
            <a:lvl1pPr marL="0" indent="0">
              <a:buNone/>
              <a:defRPr/>
            </a:lvl1pPr>
          </a:lstStyle>
          <a:p>
            <a:pPr lvl="0">
              <a:defRPr/>
            </a:pPr>
            <a:r>
              <a:rPr lang="de-DE"/>
              <a:t>Object 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38577917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">
    <p:bg>
      <p:bgPr>
        <a:gradFill>
          <a:gsLst>
            <a:gs pos="57000">
              <a:srgbClr val="007B9D"/>
            </a:gs>
            <a:gs pos="37000">
              <a:srgbClr val="00649F"/>
            </a:gs>
            <a:gs pos="0">
              <a:srgbClr val="004C9A"/>
            </a:gs>
            <a:gs pos="100000">
              <a:srgbClr val="008898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ECAD9894-B8A2-5A51-40E3-2E8C79B3DD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3358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ECAD9894-B8A2-5A51-40E3-2E8C79B3DD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23C23276-581F-C880-1CF6-1ABE305DCE9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826854" y="0"/>
            <a:ext cx="6365147" cy="5721118"/>
          </a:xfrm>
          <a:custGeom>
            <a:avLst/>
            <a:gdLst>
              <a:gd name="connsiteX0" fmla="*/ 1031642 w 6365147"/>
              <a:gd name="connsiteY0" fmla="*/ 0 h 5721118"/>
              <a:gd name="connsiteX1" fmla="*/ 5607920 w 6365147"/>
              <a:gd name="connsiteY1" fmla="*/ 0 h 5721118"/>
              <a:gd name="connsiteX2" fmla="*/ 5667221 w 6365147"/>
              <a:gd name="connsiteY2" fmla="*/ 53896 h 5721118"/>
              <a:gd name="connsiteX3" fmla="*/ 6238882 w 6365147"/>
              <a:gd name="connsiteY3" fmla="*/ 818931 h 5721118"/>
              <a:gd name="connsiteX4" fmla="*/ 6365147 w 6365147"/>
              <a:gd name="connsiteY4" fmla="*/ 1081040 h 5721118"/>
              <a:gd name="connsiteX5" fmla="*/ 6365147 w 6365147"/>
              <a:gd name="connsiteY5" fmla="*/ 3721632 h 5721118"/>
              <a:gd name="connsiteX6" fmla="*/ 6238882 w 6365147"/>
              <a:gd name="connsiteY6" fmla="*/ 3983741 h 5721118"/>
              <a:gd name="connsiteX7" fmla="*/ 3319781 w 6365147"/>
              <a:gd name="connsiteY7" fmla="*/ 5721118 h 5721118"/>
              <a:gd name="connsiteX8" fmla="*/ 0 w 6365147"/>
              <a:gd name="connsiteY8" fmla="*/ 2401336 h 5721118"/>
              <a:gd name="connsiteX9" fmla="*/ 972342 w 6365147"/>
              <a:gd name="connsiteY9" fmla="*/ 53896 h 5721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365147" h="5721118">
                <a:moveTo>
                  <a:pt x="1031642" y="0"/>
                </a:moveTo>
                <a:lnTo>
                  <a:pt x="5607920" y="0"/>
                </a:lnTo>
                <a:lnTo>
                  <a:pt x="5667221" y="53896"/>
                </a:lnTo>
                <a:cubicBezTo>
                  <a:pt x="5892507" y="279182"/>
                  <a:pt x="6085564" y="536697"/>
                  <a:pt x="6238882" y="818931"/>
                </a:cubicBezTo>
                <a:lnTo>
                  <a:pt x="6365147" y="1081040"/>
                </a:lnTo>
                <a:lnTo>
                  <a:pt x="6365147" y="3721632"/>
                </a:lnTo>
                <a:lnTo>
                  <a:pt x="6238882" y="3983741"/>
                </a:lnTo>
                <a:cubicBezTo>
                  <a:pt x="5676713" y="5018601"/>
                  <a:pt x="4580288" y="5721118"/>
                  <a:pt x="3319781" y="5721118"/>
                </a:cubicBezTo>
                <a:cubicBezTo>
                  <a:pt x="1486317" y="5721118"/>
                  <a:pt x="0" y="4234801"/>
                  <a:pt x="0" y="2401336"/>
                </a:cubicBezTo>
                <a:cubicBezTo>
                  <a:pt x="0" y="1484604"/>
                  <a:pt x="371580" y="654658"/>
                  <a:pt x="972342" y="53896"/>
                </a:cubicBezTo>
                <a:close/>
              </a:path>
            </a:pathLst>
          </a:custGeom>
          <a:solidFill>
            <a:schemeClr val="bg2">
              <a:alpha val="47000"/>
            </a:schemeClr>
          </a:solidFill>
        </p:spPr>
        <p:txBody>
          <a:bodyPr wrap="square">
            <a:noAutofit/>
          </a:bodyPr>
          <a:lstStyle/>
          <a:p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B98C35-7E26-5A4C-C1BF-B0E4721B52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4012" y="209619"/>
            <a:ext cx="6751782" cy="2387600"/>
          </a:xfrm>
        </p:spPr>
        <p:txBody>
          <a:bodyPr vert="horz" anchor="b">
            <a:noAutofit/>
          </a:bodyPr>
          <a:lstStyle>
            <a:lvl1pPr algn="l">
              <a:defRPr sz="5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34E2A02-E20E-0919-A5FE-BBE4ABF01B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4012" y="2689294"/>
            <a:ext cx="9144000" cy="1655762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5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24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120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Master-Untertitelformat bearbeiten</a:t>
            </a:r>
          </a:p>
          <a:p>
            <a:pPr lvl="1"/>
            <a:r>
              <a:rPr lang="de-DE"/>
              <a:t>2</a:t>
            </a:r>
          </a:p>
          <a:p>
            <a:pPr lvl="2"/>
            <a:r>
              <a:rPr lang="de-DE"/>
              <a:t>3</a:t>
            </a:r>
          </a:p>
          <a:p>
            <a:pPr lvl="3"/>
            <a:r>
              <a:rPr lang="de-DE"/>
              <a:t>4</a:t>
            </a:r>
          </a:p>
          <a:p>
            <a:pPr lvl="4"/>
            <a:r>
              <a:rPr lang="de-DE"/>
              <a:t>5</a:t>
            </a:r>
          </a:p>
          <a:p>
            <a:pPr lvl="5"/>
            <a:r>
              <a:rPr lang="de-DE"/>
              <a:t>6</a:t>
            </a:r>
          </a:p>
          <a:p>
            <a:pPr lvl="6"/>
            <a:r>
              <a:rPr lang="de-DE"/>
              <a:t>7</a:t>
            </a:r>
          </a:p>
          <a:p>
            <a:pPr lvl="7"/>
            <a:r>
              <a:rPr lang="de-DE"/>
              <a:t>8</a:t>
            </a:r>
          </a:p>
          <a:p>
            <a:pPr lvl="8"/>
            <a:r>
              <a:rPr lang="de-DE"/>
              <a:t>9</a:t>
            </a:r>
            <a:endParaRPr lang="de-CH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82CA99DA-0976-F351-B50A-2F0C4E12F49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64012" y="4996806"/>
            <a:ext cx="2510262" cy="1307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957382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ECAD9894-B8A2-5A51-40E3-2E8C79B3DD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4350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ECAD9894-B8A2-5A51-40E3-2E8C79B3DD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52379C3F-DF66-5129-6A03-D3EFA97CAFB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B98C35-7E26-5A4C-C1BF-B0E4721B52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4012" y="209619"/>
            <a:ext cx="6751782" cy="2387600"/>
          </a:xfrm>
        </p:spPr>
        <p:txBody>
          <a:bodyPr vert="horz" anchor="b">
            <a:noAutofit/>
          </a:bodyPr>
          <a:lstStyle>
            <a:lvl1pPr algn="l">
              <a:defRPr sz="5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34E2A02-E20E-0919-A5FE-BBE4ABF01B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4012" y="2689294"/>
            <a:ext cx="9144000" cy="1655762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5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24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120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Master-Untertitelformat bearbeiten</a:t>
            </a:r>
          </a:p>
          <a:p>
            <a:pPr lvl="1"/>
            <a:r>
              <a:rPr lang="de-DE"/>
              <a:t>2</a:t>
            </a:r>
          </a:p>
          <a:p>
            <a:pPr lvl="2"/>
            <a:r>
              <a:rPr lang="de-DE"/>
              <a:t>3</a:t>
            </a:r>
          </a:p>
          <a:p>
            <a:pPr lvl="3"/>
            <a:r>
              <a:rPr lang="de-DE"/>
              <a:t>4</a:t>
            </a:r>
          </a:p>
          <a:p>
            <a:pPr lvl="4"/>
            <a:r>
              <a:rPr lang="de-DE"/>
              <a:t>5</a:t>
            </a:r>
          </a:p>
          <a:p>
            <a:pPr lvl="5"/>
            <a:r>
              <a:rPr lang="de-DE"/>
              <a:t>6</a:t>
            </a:r>
          </a:p>
          <a:p>
            <a:pPr lvl="6"/>
            <a:r>
              <a:rPr lang="de-DE"/>
              <a:t>7</a:t>
            </a:r>
          </a:p>
          <a:p>
            <a:pPr lvl="7"/>
            <a:r>
              <a:rPr lang="de-DE"/>
              <a:t>8</a:t>
            </a:r>
          </a:p>
          <a:p>
            <a:pPr lvl="8"/>
            <a:r>
              <a:rPr lang="de-DE"/>
              <a:t>9</a:t>
            </a:r>
            <a:endParaRPr lang="de-CH"/>
          </a:p>
        </p:txBody>
      </p:sp>
      <p:sp>
        <p:nvSpPr>
          <p:cNvPr id="10" name="SmartArt-Platzhalter 9">
            <a:extLst>
              <a:ext uri="{FF2B5EF4-FFF2-40B4-BE49-F238E27FC236}">
                <a16:creationId xmlns:a16="http://schemas.microsoft.com/office/drawing/2014/main" id="{900D4142-8B8F-8CA1-F1BB-BCB44D04A098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664012" y="4996806"/>
            <a:ext cx="2510262" cy="1307978"/>
          </a:xfrm>
          <a:blipFill>
            <a:blip r:embed="rId5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7787230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bschnitts-&#10;überschrift">
    <p:bg>
      <p:bgPr>
        <a:gradFill flip="none" rotWithShape="1">
          <a:gsLst>
            <a:gs pos="73441">
              <a:srgbClr val="006B99"/>
            </a:gs>
            <a:gs pos="31900">
              <a:srgbClr val="00579A"/>
            </a:gs>
            <a:gs pos="0">
              <a:srgbClr val="00499A"/>
            </a:gs>
            <a:gs pos="100000">
              <a:srgbClr val="007B98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1B9B6D0-B599-0C8D-4823-428FF29E6F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4513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1B9B6D0-B599-0C8D-4823-428FF29E6F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524F1C7-D140-C006-B1B1-7D88B2F41D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812049"/>
            <a:ext cx="7379277" cy="2852737"/>
          </a:xfrm>
        </p:spPr>
        <p:txBody>
          <a:bodyPr vert="horz" anchor="b">
            <a:noAutofit/>
          </a:bodyPr>
          <a:lstStyle>
            <a:lvl1pPr>
              <a:defRPr sz="5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0DF45D-BD5E-DF7E-357F-B116607AF8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188141"/>
            <a:ext cx="7379277" cy="100382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200" b="0" spc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200" b="0" spc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00" b="0" spc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2200" b="0" spc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2200" b="0" spc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2200" b="0" spc="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2200" b="0" spc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2200" b="0" spc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2200" b="0" spc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60489169-EFC4-3DBC-8BB0-A923C0AF98EA}"/>
              </a:ext>
            </a:extLst>
          </p:cNvPr>
          <p:cNvSpPr/>
          <p:nvPr userDrawn="1"/>
        </p:nvSpPr>
        <p:spPr>
          <a:xfrm>
            <a:off x="831851" y="3868054"/>
            <a:ext cx="3569466" cy="1168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357" tIns="53678" rIns="107357" bIns="53678"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03671506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AE52EC-321F-C3A7-4607-6D9E10A1FB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4609732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5490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8CCFECA-7978-D051-BB72-9D7EF7108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400" y="1588656"/>
            <a:ext cx="10753200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762278D4-DE95-7582-EACD-73DB43B5F19E}"/>
              </a:ext>
            </a:extLst>
          </p:cNvPr>
          <p:cNvSpPr/>
          <p:nvPr userDrawn="1"/>
        </p:nvSpPr>
        <p:spPr>
          <a:xfrm>
            <a:off x="3876115" y="148284"/>
            <a:ext cx="8315887" cy="6709716"/>
          </a:xfrm>
          <a:custGeom>
            <a:avLst/>
            <a:gdLst>
              <a:gd name="connsiteX0" fmla="*/ 4409241 w 8315887"/>
              <a:gd name="connsiteY0" fmla="*/ 0 h 6709716"/>
              <a:gd name="connsiteX1" fmla="*/ 8315887 w 8315887"/>
              <a:gd name="connsiteY1" fmla="*/ 5944898 h 6709716"/>
              <a:gd name="connsiteX2" fmla="*/ 8315887 w 8315887"/>
              <a:gd name="connsiteY2" fmla="*/ 6400553 h 6709716"/>
              <a:gd name="connsiteX3" fmla="*/ 4409241 w 8315887"/>
              <a:gd name="connsiteY3" fmla="*/ 455657 h 6709716"/>
              <a:gd name="connsiteX4" fmla="*/ 299431 w 8315887"/>
              <a:gd name="connsiteY4" fmla="*/ 6709716 h 6709716"/>
              <a:gd name="connsiteX5" fmla="*/ 0 w 8315887"/>
              <a:gd name="connsiteY5" fmla="*/ 6709716 h 6709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15887" h="6709716">
                <a:moveTo>
                  <a:pt x="4409241" y="0"/>
                </a:moveTo>
                <a:lnTo>
                  <a:pt x="8315887" y="5944898"/>
                </a:lnTo>
                <a:lnTo>
                  <a:pt x="8315887" y="6400553"/>
                </a:lnTo>
                <a:lnTo>
                  <a:pt x="4409241" y="455657"/>
                </a:lnTo>
                <a:lnTo>
                  <a:pt x="299431" y="6709716"/>
                </a:lnTo>
                <a:lnTo>
                  <a:pt x="0" y="6709716"/>
                </a:lnTo>
                <a:close/>
              </a:path>
            </a:pathLst>
          </a:custGeom>
          <a:solidFill>
            <a:schemeClr val="bg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2735109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5490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8CCFECA-7978-D051-BB72-9D7EF7108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400" y="1588656"/>
            <a:ext cx="10753200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1048993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5490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8CCFECA-7978-D051-BB72-9D7EF7108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400" y="1588656"/>
            <a:ext cx="5196600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9B9D9A30-77FC-E723-743C-A05BFB8BE6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6000" y="1588656"/>
            <a:ext cx="5196600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808519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1588656"/>
            <a:ext cx="3464400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3" name="Bildplatzhalter 6">
            <a:extLst>
              <a:ext uri="{FF2B5EF4-FFF2-40B4-BE49-F238E27FC236}">
                <a16:creationId xmlns:a16="http://schemas.microsoft.com/office/drawing/2014/main" id="{9ECBE55B-6CC7-C93C-5119-DA0B0B7384B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63800" y="1588656"/>
            <a:ext cx="3464400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792CCA37-1F8C-F4DC-20B5-83C099D3D7C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08200" y="1588656"/>
            <a:ext cx="3464400" cy="458830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7669C91A-CB03-8536-9973-86ED129706D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63800" y="3972810"/>
            <a:ext cx="3464400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E14B6487-8ABD-B872-CF94-BD609D296C8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9400" y="3972810"/>
            <a:ext cx="3464400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80820125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1588656"/>
            <a:ext cx="10753200" cy="458830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889531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1588656"/>
            <a:ext cx="4505657" cy="458830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04B01C6F-63B2-9CB1-8A2F-0A84698A6CE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405057" y="1588656"/>
            <a:ext cx="2943772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8210464D-92B7-58B2-67E5-4BE2B9A6246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528829" y="1588656"/>
            <a:ext cx="2943772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2" name="Bildplatzhalter 6">
            <a:extLst>
              <a:ext uri="{FF2B5EF4-FFF2-40B4-BE49-F238E27FC236}">
                <a16:creationId xmlns:a16="http://schemas.microsoft.com/office/drawing/2014/main" id="{19E08F26-A93F-6121-AFE6-8CABCA0F1F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05057" y="3972810"/>
            <a:ext cx="2943772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3" name="Bildplatzhalter 6">
            <a:extLst>
              <a:ext uri="{FF2B5EF4-FFF2-40B4-BE49-F238E27FC236}">
                <a16:creationId xmlns:a16="http://schemas.microsoft.com/office/drawing/2014/main" id="{2D23055A-A076-2583-9C3E-0CE2A384D4C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528829" y="3972810"/>
            <a:ext cx="2943772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4" name="Textplatzhalter 21">
            <a:extLst>
              <a:ext uri="{FF2B5EF4-FFF2-40B4-BE49-F238E27FC236}">
                <a16:creationId xmlns:a16="http://schemas.microsoft.com/office/drawing/2014/main" id="{B3409708-3272-3ED8-F35F-75BC1AF2B23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9400" y="5852964"/>
            <a:ext cx="4505657" cy="324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6pPr>
            <a:lvl7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7pPr>
            <a:lvl8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none" spc="0" baseline="0">
                <a:solidFill>
                  <a:schemeClr val="bg1"/>
                </a:solidFill>
                <a:latin typeface="+mn-lt"/>
              </a:defRPr>
            </a:lvl8pPr>
            <a:lvl9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spc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9" name="Textplatzhalter 21">
            <a:extLst>
              <a:ext uri="{FF2B5EF4-FFF2-40B4-BE49-F238E27FC236}">
                <a16:creationId xmlns:a16="http://schemas.microsoft.com/office/drawing/2014/main" id="{831E3449-69DC-9FA3-D70A-F2F0EB5DAA2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405057" y="3468810"/>
            <a:ext cx="2943772" cy="324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6pPr>
            <a:lvl7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7pPr>
            <a:lvl8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none" spc="0" baseline="0">
                <a:solidFill>
                  <a:schemeClr val="bg1"/>
                </a:solidFill>
                <a:latin typeface="+mn-lt"/>
              </a:defRPr>
            </a:lvl8pPr>
            <a:lvl9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spc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30" name="Textplatzhalter 21">
            <a:extLst>
              <a:ext uri="{FF2B5EF4-FFF2-40B4-BE49-F238E27FC236}">
                <a16:creationId xmlns:a16="http://schemas.microsoft.com/office/drawing/2014/main" id="{82F4489E-267F-23D9-ECD0-47D4A7905A8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28829" y="3468810"/>
            <a:ext cx="2943772" cy="324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6pPr>
            <a:lvl7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7pPr>
            <a:lvl8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none" spc="0" baseline="0">
                <a:solidFill>
                  <a:schemeClr val="bg1"/>
                </a:solidFill>
                <a:latin typeface="+mn-lt"/>
              </a:defRPr>
            </a:lvl8pPr>
            <a:lvl9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spc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31" name="Textplatzhalter 21">
            <a:extLst>
              <a:ext uri="{FF2B5EF4-FFF2-40B4-BE49-F238E27FC236}">
                <a16:creationId xmlns:a16="http://schemas.microsoft.com/office/drawing/2014/main" id="{6FDFB947-0CDA-9E53-94F6-307F4093749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5057" y="5852964"/>
            <a:ext cx="2943772" cy="324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6pPr>
            <a:lvl7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7pPr>
            <a:lvl8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none" spc="0" baseline="0">
                <a:solidFill>
                  <a:schemeClr val="bg1"/>
                </a:solidFill>
                <a:latin typeface="+mn-lt"/>
              </a:defRPr>
            </a:lvl8pPr>
            <a:lvl9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spc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32" name="Textplatzhalter 21">
            <a:extLst>
              <a:ext uri="{FF2B5EF4-FFF2-40B4-BE49-F238E27FC236}">
                <a16:creationId xmlns:a16="http://schemas.microsoft.com/office/drawing/2014/main" id="{0E1D5C81-546E-744A-17D0-73C40320F2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528829" y="5852964"/>
            <a:ext cx="2943772" cy="324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6pPr>
            <a:lvl7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7pPr>
            <a:lvl8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none" spc="0" baseline="0">
                <a:solidFill>
                  <a:schemeClr val="bg1"/>
                </a:solidFill>
                <a:latin typeface="+mn-lt"/>
              </a:defRPr>
            </a:lvl8pPr>
            <a:lvl9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spc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89768182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1" y="1588656"/>
            <a:ext cx="4505657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157F4D65-1FB1-2AD7-C77B-BEC19B686AD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05057" y="1588656"/>
            <a:ext cx="6067544" cy="458830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21C6026B-A364-0C42-0B64-CE9CF5BBEF6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19401" y="3972810"/>
            <a:ext cx="4505657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1818952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1" y="1588656"/>
            <a:ext cx="3099959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157F4D65-1FB1-2AD7-C77B-BEC19B686AD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999360" y="1588656"/>
            <a:ext cx="7473240" cy="458830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21C6026B-A364-0C42-0B64-CE9CF5BBEF6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19401" y="3972810"/>
            <a:ext cx="3099959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67295084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0996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447BBCF4-4C61-3F03-96B8-86FFC3C24D5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76964"/>
          </a:xfrm>
          <a:custGeom>
            <a:avLst/>
            <a:gdLst>
              <a:gd name="connsiteX0" fmla="*/ 719400 w 12192000"/>
              <a:gd name="connsiteY0" fmla="*/ 1185290 h 6176964"/>
              <a:gd name="connsiteX1" fmla="*/ 719400 w 12192000"/>
              <a:gd name="connsiteY1" fmla="*/ 1250090 h 6176964"/>
              <a:gd name="connsiteX2" fmla="*/ 2699400 w 12192000"/>
              <a:gd name="connsiteY2" fmla="*/ 1250090 h 6176964"/>
              <a:gd name="connsiteX3" fmla="*/ 2699400 w 12192000"/>
              <a:gd name="connsiteY3" fmla="*/ 1185290 h 6176964"/>
              <a:gd name="connsiteX4" fmla="*/ 0 w 12192000"/>
              <a:gd name="connsiteY4" fmla="*/ 0 h 6176964"/>
              <a:gd name="connsiteX5" fmla="*/ 12192000 w 12192000"/>
              <a:gd name="connsiteY5" fmla="*/ 0 h 6176964"/>
              <a:gd name="connsiteX6" fmla="*/ 12192000 w 12192000"/>
              <a:gd name="connsiteY6" fmla="*/ 6176964 h 6176964"/>
              <a:gd name="connsiteX7" fmla="*/ 0 w 12192000"/>
              <a:gd name="connsiteY7" fmla="*/ 6176964 h 6176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176964">
                <a:moveTo>
                  <a:pt x="719400" y="1185290"/>
                </a:moveTo>
                <a:lnTo>
                  <a:pt x="719400" y="1250090"/>
                </a:lnTo>
                <a:lnTo>
                  <a:pt x="2699400" y="1250090"/>
                </a:lnTo>
                <a:lnTo>
                  <a:pt x="2699400" y="118529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176964"/>
                </a:lnTo>
                <a:lnTo>
                  <a:pt x="0" y="6176964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pic>
        <p:nvPicPr>
          <p:cNvPr id="12" name="Picture 6" descr="Logo&#10;&#10;Description automatically generated">
            <a:extLst>
              <a:ext uri="{FF2B5EF4-FFF2-40B4-BE49-F238E27FC236}">
                <a16:creationId xmlns:a16="http://schemas.microsoft.com/office/drawing/2014/main" id="{7824872E-2E83-A986-E826-90DAEC17065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10748441" y="6324952"/>
            <a:ext cx="724160" cy="377823"/>
          </a:xfrm>
          <a:prstGeom prst="rect">
            <a:avLst/>
          </a:prstGeom>
        </p:spPr>
      </p:pic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0141999-0CC1-0748-41C7-25843012BCC0}"/>
              </a:ext>
            </a:extLst>
          </p:cNvPr>
          <p:cNvCxnSpPr/>
          <p:nvPr userDrawn="1"/>
        </p:nvCxnSpPr>
        <p:spPr>
          <a:xfrm>
            <a:off x="6096000" y="6558344"/>
            <a:ext cx="0" cy="197042"/>
          </a:xfrm>
          <a:prstGeom prst="line">
            <a:avLst/>
          </a:prstGeom>
          <a:ln w="19050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B89B0A-5863-5544-351E-EFB4DED787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21894" y="2463282"/>
            <a:ext cx="4250705" cy="3180136"/>
          </a:xfrm>
          <a:solidFill>
            <a:schemeClr val="tx2">
              <a:alpha val="80000"/>
            </a:schemeClr>
          </a:solidFill>
        </p:spPr>
        <p:txBody>
          <a:bodyPr lIns="216000" tIns="216000" rIns="216000" bIns="21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</a:t>
            </a:r>
          </a:p>
          <a:p>
            <a:pPr lvl="6"/>
            <a:r>
              <a:rPr lang="de-DE"/>
              <a:t>Siebte</a:t>
            </a:r>
          </a:p>
          <a:p>
            <a:pPr lvl="7"/>
            <a:r>
              <a:rPr lang="de-DE"/>
              <a:t>Achte</a:t>
            </a:r>
          </a:p>
          <a:p>
            <a:pPr lvl="8"/>
            <a:r>
              <a:rPr lang="de-DE"/>
              <a:t>Neunt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5860283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0996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447BBCF4-4C61-3F03-96B8-86FFC3C24D5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76964"/>
          </a:xfrm>
          <a:custGeom>
            <a:avLst/>
            <a:gdLst>
              <a:gd name="connsiteX0" fmla="*/ 719400 w 12192000"/>
              <a:gd name="connsiteY0" fmla="*/ 1185290 h 6176964"/>
              <a:gd name="connsiteX1" fmla="*/ 719400 w 12192000"/>
              <a:gd name="connsiteY1" fmla="*/ 1250090 h 6176964"/>
              <a:gd name="connsiteX2" fmla="*/ 2699400 w 12192000"/>
              <a:gd name="connsiteY2" fmla="*/ 1250090 h 6176964"/>
              <a:gd name="connsiteX3" fmla="*/ 2699400 w 12192000"/>
              <a:gd name="connsiteY3" fmla="*/ 1185290 h 6176964"/>
              <a:gd name="connsiteX4" fmla="*/ 0 w 12192000"/>
              <a:gd name="connsiteY4" fmla="*/ 0 h 6176964"/>
              <a:gd name="connsiteX5" fmla="*/ 12192000 w 12192000"/>
              <a:gd name="connsiteY5" fmla="*/ 0 h 6176964"/>
              <a:gd name="connsiteX6" fmla="*/ 12192000 w 12192000"/>
              <a:gd name="connsiteY6" fmla="*/ 6176964 h 6176964"/>
              <a:gd name="connsiteX7" fmla="*/ 0 w 12192000"/>
              <a:gd name="connsiteY7" fmla="*/ 6176964 h 6176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176964">
                <a:moveTo>
                  <a:pt x="719400" y="1185290"/>
                </a:moveTo>
                <a:lnTo>
                  <a:pt x="719400" y="1250090"/>
                </a:lnTo>
                <a:lnTo>
                  <a:pt x="2699400" y="1250090"/>
                </a:lnTo>
                <a:lnTo>
                  <a:pt x="2699400" y="118529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176964"/>
                </a:lnTo>
                <a:lnTo>
                  <a:pt x="0" y="6176964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pic>
        <p:nvPicPr>
          <p:cNvPr id="12" name="Picture 6" descr="Logo&#10;&#10;Description automatically generated">
            <a:extLst>
              <a:ext uri="{FF2B5EF4-FFF2-40B4-BE49-F238E27FC236}">
                <a16:creationId xmlns:a16="http://schemas.microsoft.com/office/drawing/2014/main" id="{7824872E-2E83-A986-E826-90DAEC17065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10748441" y="6324952"/>
            <a:ext cx="724160" cy="377823"/>
          </a:xfrm>
          <a:prstGeom prst="rect">
            <a:avLst/>
          </a:prstGeom>
        </p:spPr>
      </p:pic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0141999-0CC1-0748-41C7-25843012BCC0}"/>
              </a:ext>
            </a:extLst>
          </p:cNvPr>
          <p:cNvCxnSpPr/>
          <p:nvPr userDrawn="1"/>
        </p:nvCxnSpPr>
        <p:spPr>
          <a:xfrm>
            <a:off x="6096000" y="6558344"/>
            <a:ext cx="0" cy="197042"/>
          </a:xfrm>
          <a:prstGeom prst="line">
            <a:avLst/>
          </a:prstGeom>
          <a:ln w="19050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426355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703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9A963634-F058-34AF-375E-ED6FC5315BDB}"/>
              </a:ext>
            </a:extLst>
          </p:cNvPr>
          <p:cNvSpPr/>
          <p:nvPr userDrawn="1"/>
        </p:nvSpPr>
        <p:spPr>
          <a:xfrm>
            <a:off x="249382" y="1080656"/>
            <a:ext cx="2854036" cy="41243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447BBCF4-4C61-3F03-96B8-86FFC3C24D5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76964"/>
          </a:xfrm>
          <a:custGeom>
            <a:avLst/>
            <a:gdLst>
              <a:gd name="connsiteX0" fmla="*/ 719400 w 12192000"/>
              <a:gd name="connsiteY0" fmla="*/ 1185290 h 6176964"/>
              <a:gd name="connsiteX1" fmla="*/ 719400 w 12192000"/>
              <a:gd name="connsiteY1" fmla="*/ 1250090 h 6176964"/>
              <a:gd name="connsiteX2" fmla="*/ 2699400 w 12192000"/>
              <a:gd name="connsiteY2" fmla="*/ 1250090 h 6176964"/>
              <a:gd name="connsiteX3" fmla="*/ 2699400 w 12192000"/>
              <a:gd name="connsiteY3" fmla="*/ 1185290 h 6176964"/>
              <a:gd name="connsiteX4" fmla="*/ 0 w 12192000"/>
              <a:gd name="connsiteY4" fmla="*/ 0 h 6176964"/>
              <a:gd name="connsiteX5" fmla="*/ 12192000 w 12192000"/>
              <a:gd name="connsiteY5" fmla="*/ 0 h 6176964"/>
              <a:gd name="connsiteX6" fmla="*/ 12192000 w 12192000"/>
              <a:gd name="connsiteY6" fmla="*/ 6176964 h 6176964"/>
              <a:gd name="connsiteX7" fmla="*/ 0 w 12192000"/>
              <a:gd name="connsiteY7" fmla="*/ 6176964 h 6176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176964">
                <a:moveTo>
                  <a:pt x="719400" y="1185290"/>
                </a:moveTo>
                <a:lnTo>
                  <a:pt x="719400" y="1250090"/>
                </a:lnTo>
                <a:lnTo>
                  <a:pt x="2699400" y="1250090"/>
                </a:lnTo>
                <a:lnTo>
                  <a:pt x="2699400" y="118529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176964"/>
                </a:lnTo>
                <a:lnTo>
                  <a:pt x="0" y="6176964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CH" sz="3000" b="1" kern="1200">
                <a:gradFill>
                  <a:gsLst>
                    <a:gs pos="73441">
                      <a:srgbClr val="006B99"/>
                    </a:gs>
                    <a:gs pos="31900">
                      <a:srgbClr val="00579A"/>
                    </a:gs>
                    <a:gs pos="0">
                      <a:srgbClr val="004A9A"/>
                    </a:gs>
                    <a:gs pos="100000">
                      <a:srgbClr val="007B98"/>
                    </a:gs>
                  </a:gsLst>
                  <a:path path="circle">
                    <a:fillToRect t="100000" r="100000"/>
                  </a:path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pic>
        <p:nvPicPr>
          <p:cNvPr id="12" name="Picture 6" descr="Logo&#10;&#10;Description automatically generated">
            <a:extLst>
              <a:ext uri="{FF2B5EF4-FFF2-40B4-BE49-F238E27FC236}">
                <a16:creationId xmlns:a16="http://schemas.microsoft.com/office/drawing/2014/main" id="{7824872E-2E83-A986-E826-90DAEC17065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10748441" y="6324952"/>
            <a:ext cx="724160" cy="377823"/>
          </a:xfrm>
          <a:prstGeom prst="rect">
            <a:avLst/>
          </a:prstGeom>
        </p:spPr>
      </p:pic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0141999-0CC1-0748-41C7-25843012BCC0}"/>
              </a:ext>
            </a:extLst>
          </p:cNvPr>
          <p:cNvCxnSpPr/>
          <p:nvPr userDrawn="1"/>
        </p:nvCxnSpPr>
        <p:spPr>
          <a:xfrm>
            <a:off x="6096000" y="6558344"/>
            <a:ext cx="0" cy="197042"/>
          </a:xfrm>
          <a:prstGeom prst="line">
            <a:avLst/>
          </a:prstGeom>
          <a:ln w="19050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01120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467546" y="1505530"/>
            <a:ext cx="1459344" cy="145934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A9BD640D-1EE7-B816-17DA-F0E7B557BD3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16937" y="4728724"/>
            <a:ext cx="1459344" cy="145934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B06DB4D0-BDB3-1962-45DC-CD539A97C59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99329" y="3117127"/>
            <a:ext cx="1459344" cy="145934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D088CAD7-DC0A-E49D-D30C-108C7127F77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15719" y="4728724"/>
            <a:ext cx="1459344" cy="145934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0D436E74-C17A-19A1-BFF3-D627EE78FDF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265110" y="1505530"/>
            <a:ext cx="1459344" cy="145934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CD4A1C73-8420-117E-87AD-5609F941ACA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133327" y="3117127"/>
            <a:ext cx="1459344" cy="145934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3E58BC35-3087-B5E6-E980-CF782A3CB55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467546" y="4728724"/>
            <a:ext cx="1459344" cy="145934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31A32221-8723-20DC-83EB-E69A0ABE522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366328" y="4728724"/>
            <a:ext cx="1459344" cy="145934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0C46E4F6-F823-F792-64A5-946ABEBB618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265110" y="4728724"/>
            <a:ext cx="1459344" cy="1459344"/>
          </a:xfrm>
          <a:prstGeom prst="ellipse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9846934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4793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FA05F197-BA9C-07BF-6811-2FC654B48B4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192000" cy="3922714"/>
          </a:xfrm>
          <a:custGeom>
            <a:avLst/>
            <a:gdLst>
              <a:gd name="connsiteX0" fmla="*/ 719400 w 12192000"/>
              <a:gd name="connsiteY0" fmla="*/ 1185290 h 3922714"/>
              <a:gd name="connsiteX1" fmla="*/ 719400 w 12192000"/>
              <a:gd name="connsiteY1" fmla="*/ 1250090 h 3922714"/>
              <a:gd name="connsiteX2" fmla="*/ 2699400 w 12192000"/>
              <a:gd name="connsiteY2" fmla="*/ 1250090 h 3922714"/>
              <a:gd name="connsiteX3" fmla="*/ 2699400 w 12192000"/>
              <a:gd name="connsiteY3" fmla="*/ 1185290 h 3922714"/>
              <a:gd name="connsiteX4" fmla="*/ 0 w 12192000"/>
              <a:gd name="connsiteY4" fmla="*/ 0 h 3922714"/>
              <a:gd name="connsiteX5" fmla="*/ 12192000 w 12192000"/>
              <a:gd name="connsiteY5" fmla="*/ 0 h 3922714"/>
              <a:gd name="connsiteX6" fmla="*/ 12192000 w 12192000"/>
              <a:gd name="connsiteY6" fmla="*/ 3922714 h 3922714"/>
              <a:gd name="connsiteX7" fmla="*/ 0 w 12192000"/>
              <a:gd name="connsiteY7" fmla="*/ 3922714 h 3922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922714">
                <a:moveTo>
                  <a:pt x="719400" y="1185290"/>
                </a:moveTo>
                <a:lnTo>
                  <a:pt x="719400" y="1250090"/>
                </a:lnTo>
                <a:lnTo>
                  <a:pt x="2699400" y="1250090"/>
                </a:lnTo>
                <a:lnTo>
                  <a:pt x="2699400" y="118529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922714"/>
                </a:lnTo>
                <a:lnTo>
                  <a:pt x="0" y="3922714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9420D374-CF7B-6362-4815-F1A812A8BE8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9400" y="4300538"/>
            <a:ext cx="7048800" cy="18764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29" name="Picture 6" descr="Logo&#10;&#10;Description automatically generated">
            <a:extLst>
              <a:ext uri="{FF2B5EF4-FFF2-40B4-BE49-F238E27FC236}">
                <a16:creationId xmlns:a16="http://schemas.microsoft.com/office/drawing/2014/main" id="{A8E757DE-FEFD-3B73-044D-2A129AD4F50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10748441" y="6324952"/>
            <a:ext cx="724160" cy="377823"/>
          </a:xfrm>
          <a:prstGeom prst="rect">
            <a:avLst/>
          </a:prstGeom>
        </p:spPr>
      </p:pic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77290C06-770E-7828-1A68-3ED4E8758650}"/>
              </a:ext>
            </a:extLst>
          </p:cNvPr>
          <p:cNvCxnSpPr/>
          <p:nvPr userDrawn="1"/>
        </p:nvCxnSpPr>
        <p:spPr>
          <a:xfrm>
            <a:off x="6096000" y="6558344"/>
            <a:ext cx="0" cy="197042"/>
          </a:xfrm>
          <a:prstGeom prst="line">
            <a:avLst/>
          </a:prstGeom>
          <a:ln w="19050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279129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1588654"/>
            <a:ext cx="7108799" cy="3780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FF3AE96C-EB9B-D733-73B8-6CEFBF12F2C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008201" y="1588654"/>
            <a:ext cx="3464402" cy="3780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9420D374-CF7B-6362-4815-F1A812A8BE8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9400" y="5467928"/>
            <a:ext cx="7108799" cy="709036"/>
          </a:xfrm>
        </p:spPr>
        <p:txBody>
          <a:bodyPr/>
          <a:lstStyle>
            <a:lvl2pPr marL="0" indent="0">
              <a:buNone/>
              <a:defRPr sz="1400"/>
            </a:lvl2pPr>
            <a:lvl3pPr marL="0" indent="0">
              <a:spcBef>
                <a:spcPts val="600"/>
              </a:spcBef>
              <a:buNone/>
              <a:defRPr sz="1200"/>
            </a:lvl3pPr>
            <a:lvl4pPr>
              <a:defRPr sz="1600" b="1">
                <a:solidFill>
                  <a:schemeClr val="tx2"/>
                </a:solidFill>
                <a:latin typeface="+mj-lt"/>
              </a:defRPr>
            </a:lvl4pPr>
            <a:lvl5pPr marL="0" indent="0">
              <a:buNone/>
              <a:defRPr b="1">
                <a:solidFill>
                  <a:schemeClr val="tx2"/>
                </a:solidFill>
                <a:latin typeface="+mj-lt"/>
              </a:defRPr>
            </a:lvl5pPr>
            <a:lvl6pPr marL="0" indent="0">
              <a:spcBef>
                <a:spcPts val="60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6pPr>
            <a:lvl7pPr>
              <a:defRPr sz="1600"/>
            </a:lvl7pPr>
            <a:lvl8pPr>
              <a:spcAft>
                <a:spcPts val="0"/>
              </a:spcAft>
              <a:defRPr sz="1600" b="0" cap="none" spc="0" baseline="0">
                <a:solidFill>
                  <a:schemeClr val="tx1"/>
                </a:solidFill>
                <a:latin typeface="+mn-lt"/>
              </a:defRPr>
            </a:lvl8pPr>
            <a:lvl9pPr>
              <a:spcBef>
                <a:spcPts val="600"/>
              </a:spcBef>
              <a:spcAft>
                <a:spcPts val="0"/>
              </a:spcAft>
              <a:defRPr sz="1600">
                <a:latin typeface="+mn-lt"/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</a:t>
            </a:r>
          </a:p>
          <a:p>
            <a:pPr lvl="6"/>
            <a:r>
              <a:rPr lang="de-DE"/>
              <a:t>Siebte</a:t>
            </a:r>
          </a:p>
          <a:p>
            <a:pPr lvl="7"/>
            <a:r>
              <a:rPr lang="de-DE"/>
              <a:t>Achte</a:t>
            </a:r>
          </a:p>
          <a:p>
            <a:pPr lvl="8"/>
            <a:r>
              <a:rPr lang="de-DE"/>
              <a:t>neunte</a:t>
            </a:r>
            <a:endParaRPr lang="de-CH"/>
          </a:p>
        </p:txBody>
      </p:sp>
      <p:sp>
        <p:nvSpPr>
          <p:cNvPr id="11" name="Textplatzhalter 18">
            <a:extLst>
              <a:ext uri="{FF2B5EF4-FFF2-40B4-BE49-F238E27FC236}">
                <a16:creationId xmlns:a16="http://schemas.microsoft.com/office/drawing/2014/main" id="{2E8EEAB1-FE4C-AE40-DE9E-7B7FA3F9784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08201" y="5467928"/>
            <a:ext cx="3464402" cy="709036"/>
          </a:xfrm>
        </p:spPr>
        <p:txBody>
          <a:bodyPr/>
          <a:lstStyle>
            <a:lvl2pPr marL="0" indent="0">
              <a:buNone/>
              <a:defRPr sz="1400"/>
            </a:lvl2pPr>
            <a:lvl3pPr marL="0" indent="0">
              <a:spcBef>
                <a:spcPts val="600"/>
              </a:spcBef>
              <a:buNone/>
              <a:defRPr sz="1200"/>
            </a:lvl3pPr>
            <a:lvl4pPr>
              <a:defRPr sz="1600" b="1">
                <a:solidFill>
                  <a:schemeClr val="tx2"/>
                </a:solidFill>
                <a:latin typeface="+mj-lt"/>
              </a:defRPr>
            </a:lvl4pPr>
            <a:lvl5pPr marL="0" indent="0">
              <a:buNone/>
              <a:defRPr b="1">
                <a:solidFill>
                  <a:schemeClr val="tx2"/>
                </a:solidFill>
                <a:latin typeface="+mj-lt"/>
              </a:defRPr>
            </a:lvl5pPr>
            <a:lvl6pPr marL="0" indent="0">
              <a:spcBef>
                <a:spcPts val="60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6pPr>
            <a:lvl7pPr>
              <a:defRPr sz="1600"/>
            </a:lvl7pPr>
            <a:lvl8pPr>
              <a:spcAft>
                <a:spcPts val="0"/>
              </a:spcAft>
              <a:defRPr sz="1600" b="0" cap="none" spc="0" baseline="0">
                <a:solidFill>
                  <a:schemeClr val="tx1"/>
                </a:solidFill>
                <a:latin typeface="+mn-lt"/>
              </a:defRPr>
            </a:lvl8pPr>
            <a:lvl9pPr>
              <a:spcBef>
                <a:spcPts val="600"/>
              </a:spcBef>
              <a:spcAft>
                <a:spcPts val="0"/>
              </a:spcAft>
              <a:defRPr sz="1600">
                <a:latin typeface="+mn-lt"/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</a:t>
            </a:r>
          </a:p>
          <a:p>
            <a:pPr lvl="6"/>
            <a:r>
              <a:rPr lang="de-DE"/>
              <a:t>Siebte</a:t>
            </a:r>
          </a:p>
          <a:p>
            <a:pPr lvl="7"/>
            <a:r>
              <a:rPr lang="de-DE"/>
              <a:t>Achte</a:t>
            </a:r>
          </a:p>
          <a:p>
            <a:pPr lvl="8"/>
            <a:r>
              <a:rPr lang="de-DE"/>
              <a:t>neunt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00187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1588656"/>
            <a:ext cx="4505657" cy="458830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04B01C6F-63B2-9CB1-8A2F-0A84698A6CE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405057" y="1588656"/>
            <a:ext cx="2943772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8210464D-92B7-58B2-67E5-4BE2B9A6246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528829" y="1588656"/>
            <a:ext cx="2943772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2" name="Bildplatzhalter 6">
            <a:extLst>
              <a:ext uri="{FF2B5EF4-FFF2-40B4-BE49-F238E27FC236}">
                <a16:creationId xmlns:a16="http://schemas.microsoft.com/office/drawing/2014/main" id="{19E08F26-A93F-6121-AFE6-8CABCA0F1F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05057" y="3972810"/>
            <a:ext cx="2943772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3" name="Bildplatzhalter 6">
            <a:extLst>
              <a:ext uri="{FF2B5EF4-FFF2-40B4-BE49-F238E27FC236}">
                <a16:creationId xmlns:a16="http://schemas.microsoft.com/office/drawing/2014/main" id="{2D23055A-A076-2583-9C3E-0CE2A384D4C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528829" y="3972810"/>
            <a:ext cx="2943772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4" name="Textplatzhalter 21">
            <a:extLst>
              <a:ext uri="{FF2B5EF4-FFF2-40B4-BE49-F238E27FC236}">
                <a16:creationId xmlns:a16="http://schemas.microsoft.com/office/drawing/2014/main" id="{B3409708-3272-3ED8-F35F-75BC1AF2B23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9400" y="5852964"/>
            <a:ext cx="4505657" cy="324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6pPr>
            <a:lvl7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7pPr>
            <a:lvl8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none" spc="0" baseline="0">
                <a:solidFill>
                  <a:schemeClr val="bg1"/>
                </a:solidFill>
                <a:latin typeface="+mn-lt"/>
              </a:defRPr>
            </a:lvl8pPr>
            <a:lvl9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spc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9" name="Textplatzhalter 21">
            <a:extLst>
              <a:ext uri="{FF2B5EF4-FFF2-40B4-BE49-F238E27FC236}">
                <a16:creationId xmlns:a16="http://schemas.microsoft.com/office/drawing/2014/main" id="{831E3449-69DC-9FA3-D70A-F2F0EB5DAA2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405057" y="3468810"/>
            <a:ext cx="2943772" cy="324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6pPr>
            <a:lvl7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7pPr>
            <a:lvl8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none" spc="0" baseline="0">
                <a:solidFill>
                  <a:schemeClr val="bg1"/>
                </a:solidFill>
                <a:latin typeface="+mn-lt"/>
              </a:defRPr>
            </a:lvl8pPr>
            <a:lvl9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spc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30" name="Textplatzhalter 21">
            <a:extLst>
              <a:ext uri="{FF2B5EF4-FFF2-40B4-BE49-F238E27FC236}">
                <a16:creationId xmlns:a16="http://schemas.microsoft.com/office/drawing/2014/main" id="{82F4489E-267F-23D9-ECD0-47D4A7905A8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28829" y="3468810"/>
            <a:ext cx="2943772" cy="324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6pPr>
            <a:lvl7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7pPr>
            <a:lvl8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none" spc="0" baseline="0">
                <a:solidFill>
                  <a:schemeClr val="bg1"/>
                </a:solidFill>
                <a:latin typeface="+mn-lt"/>
              </a:defRPr>
            </a:lvl8pPr>
            <a:lvl9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spc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31" name="Textplatzhalter 21">
            <a:extLst>
              <a:ext uri="{FF2B5EF4-FFF2-40B4-BE49-F238E27FC236}">
                <a16:creationId xmlns:a16="http://schemas.microsoft.com/office/drawing/2014/main" id="{6FDFB947-0CDA-9E53-94F6-307F4093749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5057" y="5852964"/>
            <a:ext cx="2943772" cy="324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6pPr>
            <a:lvl7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7pPr>
            <a:lvl8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none" spc="0" baseline="0">
                <a:solidFill>
                  <a:schemeClr val="bg1"/>
                </a:solidFill>
                <a:latin typeface="+mn-lt"/>
              </a:defRPr>
            </a:lvl8pPr>
            <a:lvl9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spc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32" name="Textplatzhalter 21">
            <a:extLst>
              <a:ext uri="{FF2B5EF4-FFF2-40B4-BE49-F238E27FC236}">
                <a16:creationId xmlns:a16="http://schemas.microsoft.com/office/drawing/2014/main" id="{0E1D5C81-546E-744A-17D0-73C40320F2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528829" y="5852964"/>
            <a:ext cx="2943772" cy="324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6pPr>
            <a:lvl7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7pPr>
            <a:lvl8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none" spc="0" baseline="0">
                <a:solidFill>
                  <a:schemeClr val="bg1"/>
                </a:solidFill>
                <a:latin typeface="+mn-lt"/>
              </a:defRPr>
            </a:lvl8pPr>
            <a:lvl9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spc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44046741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1588654"/>
            <a:ext cx="7108799" cy="458831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FF3AE96C-EB9B-D733-73B8-6CEFBF12F2C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008201" y="1588654"/>
            <a:ext cx="3464402" cy="458831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6012335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1588656"/>
            <a:ext cx="3464400" cy="3509817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D4D8E73D-FA72-0183-C8D7-872846DB098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63800" y="1588657"/>
            <a:ext cx="3464400" cy="3509817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3DAC1BAE-4389-CF9D-56A7-8A9AFC18D3B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08200" y="1588657"/>
            <a:ext cx="3464400" cy="3509817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5C1AE9-9C46-D5BF-821E-91F15A67734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9400" y="5269344"/>
            <a:ext cx="3464400" cy="9076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18D52A40-7F98-0248-4937-F4665837A6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3800" y="5269344"/>
            <a:ext cx="3464400" cy="9076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1EED39CD-40FD-9184-008C-43F63B9F348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08200" y="5269344"/>
            <a:ext cx="3464400" cy="9076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3951978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1588656"/>
            <a:ext cx="5196600" cy="458830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C44D772C-24CA-2944-8EB1-A8690B38AF6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76000" y="1588656"/>
            <a:ext cx="5196600" cy="458830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9894139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0756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1588656"/>
            <a:ext cx="5196600" cy="458830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05D378F-E0F1-6402-9CDA-98F867F294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6000" y="1588656"/>
            <a:ext cx="5196600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4258202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3885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05D378F-E0F1-6402-9CDA-98F867F294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9400" y="1588656"/>
            <a:ext cx="5196600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6000" y="1588656"/>
            <a:ext cx="5196600" cy="458830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91119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8559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5016600" cy="1080656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05D378F-E0F1-6402-9CDA-98F867F294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9400" y="1588656"/>
            <a:ext cx="5016600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17696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6164711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158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56ABDA6A-A098-817B-4EBD-CFC52D884103}"/>
              </a:ext>
            </a:extLst>
          </p:cNvPr>
          <p:cNvSpPr/>
          <p:nvPr userDrawn="1"/>
        </p:nvSpPr>
        <p:spPr>
          <a:xfrm>
            <a:off x="6095998" y="0"/>
            <a:ext cx="6096001" cy="6176964"/>
          </a:xfrm>
          <a:custGeom>
            <a:avLst/>
            <a:gdLst>
              <a:gd name="connsiteX0" fmla="*/ 719400 w 12192000"/>
              <a:gd name="connsiteY0" fmla="*/ 1185290 h 6176964"/>
              <a:gd name="connsiteX1" fmla="*/ 719400 w 12192000"/>
              <a:gd name="connsiteY1" fmla="*/ 1250090 h 6176964"/>
              <a:gd name="connsiteX2" fmla="*/ 2699400 w 12192000"/>
              <a:gd name="connsiteY2" fmla="*/ 1250090 h 6176964"/>
              <a:gd name="connsiteX3" fmla="*/ 2699400 w 12192000"/>
              <a:gd name="connsiteY3" fmla="*/ 1185290 h 6176964"/>
              <a:gd name="connsiteX4" fmla="*/ 0 w 12192000"/>
              <a:gd name="connsiteY4" fmla="*/ 0 h 6176964"/>
              <a:gd name="connsiteX5" fmla="*/ 12192000 w 12192000"/>
              <a:gd name="connsiteY5" fmla="*/ 0 h 6176964"/>
              <a:gd name="connsiteX6" fmla="*/ 12192000 w 12192000"/>
              <a:gd name="connsiteY6" fmla="*/ 6176964 h 6176964"/>
              <a:gd name="connsiteX7" fmla="*/ 0 w 12192000"/>
              <a:gd name="connsiteY7" fmla="*/ 6176964 h 6176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176964">
                <a:moveTo>
                  <a:pt x="719400" y="1185290"/>
                </a:moveTo>
                <a:lnTo>
                  <a:pt x="719400" y="1250090"/>
                </a:lnTo>
                <a:lnTo>
                  <a:pt x="2699400" y="1250090"/>
                </a:lnTo>
                <a:lnTo>
                  <a:pt x="2699400" y="118529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176964"/>
                </a:lnTo>
                <a:lnTo>
                  <a:pt x="0" y="6176964"/>
                </a:lnTo>
                <a:close/>
              </a:path>
            </a:pathLst>
          </a:custGeom>
          <a:gradFill>
            <a:gsLst>
              <a:gs pos="73441">
                <a:srgbClr val="006B99"/>
              </a:gs>
              <a:gs pos="31900">
                <a:srgbClr val="00579A"/>
              </a:gs>
              <a:gs pos="0">
                <a:srgbClr val="00499A"/>
              </a:gs>
              <a:gs pos="100000">
                <a:srgbClr val="007B9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5016600" cy="1080656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05D378F-E0F1-6402-9CDA-98F867F294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9400" y="1588656"/>
            <a:ext cx="5016600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3A83C84B-378F-4865-C610-0B22CC88E1C3}"/>
              </a:ext>
            </a:extLst>
          </p:cNvPr>
          <p:cNvSpPr/>
          <p:nvPr userDrawn="1"/>
        </p:nvSpPr>
        <p:spPr>
          <a:xfrm>
            <a:off x="6096000" y="0"/>
            <a:ext cx="6096000" cy="6176964"/>
          </a:xfrm>
          <a:prstGeom prst="rect">
            <a:avLst/>
          </a:prstGeom>
          <a:gradFill>
            <a:gsLst>
              <a:gs pos="73441">
                <a:srgbClr val="006B99"/>
              </a:gs>
              <a:gs pos="31900">
                <a:srgbClr val="00579A"/>
              </a:gs>
              <a:gs pos="0">
                <a:srgbClr val="00499A"/>
              </a:gs>
              <a:gs pos="100000">
                <a:srgbClr val="007B9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24043552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8154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7696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00" y="0"/>
            <a:ext cx="5016600" cy="1080656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05D378F-E0F1-6402-9CDA-98F867F294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56000" y="1588656"/>
            <a:ext cx="5016600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FC0E45A-0F18-0582-C2E9-0C21DC7FE0FD}"/>
              </a:ext>
            </a:extLst>
          </p:cNvPr>
          <p:cNvSpPr/>
          <p:nvPr userDrawn="1"/>
        </p:nvSpPr>
        <p:spPr>
          <a:xfrm>
            <a:off x="6456000" y="1185290"/>
            <a:ext cx="1980000" cy="64800"/>
          </a:xfrm>
          <a:prstGeom prst="rect">
            <a:avLst/>
          </a:prstGeom>
          <a:solidFill>
            <a:srgbClr val="004A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7756442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6601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5998" y="179998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D37751CA-77A6-2816-A3E2-93047BF28A0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91998" y="179998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9DADCBC3-C4C8-4C7C-E440-FCBC7D92786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107996" y="179998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6BD2E061-D825-99CE-4EA9-C819ECAD6CD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75998" y="2182986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0C197267-6BA2-F330-99F8-F4F031C1370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91997" y="2182986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6A1B78EA-2DC5-6F73-0235-7F17EEFED34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107997" y="2182986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9" name="Bildplatzhalter 6">
            <a:extLst>
              <a:ext uri="{FF2B5EF4-FFF2-40B4-BE49-F238E27FC236}">
                <a16:creationId xmlns:a16="http://schemas.microsoft.com/office/drawing/2014/main" id="{C2B28397-A39D-7D39-A455-B77BD6217F5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75998" y="4185974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0" name="Bildplatzhalter 6">
            <a:extLst>
              <a:ext uri="{FF2B5EF4-FFF2-40B4-BE49-F238E27FC236}">
                <a16:creationId xmlns:a16="http://schemas.microsoft.com/office/drawing/2014/main" id="{3FF7C958-FC28-ABB8-12CA-FAD825F5E6F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91998" y="4185974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886BE4BA-199F-50CA-F922-EFC0D01F83D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0107996" y="4185974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399" y="180000"/>
            <a:ext cx="5196600" cy="900656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24" name="Textplatzhalter 21">
            <a:extLst>
              <a:ext uri="{FF2B5EF4-FFF2-40B4-BE49-F238E27FC236}">
                <a16:creationId xmlns:a16="http://schemas.microsoft.com/office/drawing/2014/main" id="{435A29B7-90DD-A2D4-234A-7101683E518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903997" y="1894986"/>
            <a:ext cx="216000" cy="216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5" name="Textplatzhalter 21">
            <a:extLst>
              <a:ext uri="{FF2B5EF4-FFF2-40B4-BE49-F238E27FC236}">
                <a16:creationId xmlns:a16="http://schemas.microsoft.com/office/drawing/2014/main" id="{FB729990-18F7-7574-29E6-4905AAC683C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819997" y="1894986"/>
            <a:ext cx="216000" cy="216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6" name="Textplatzhalter 21">
            <a:extLst>
              <a:ext uri="{FF2B5EF4-FFF2-40B4-BE49-F238E27FC236}">
                <a16:creationId xmlns:a16="http://schemas.microsoft.com/office/drawing/2014/main" id="{D105281E-8EB0-583E-4D69-5F6E046C3F0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735996" y="1894986"/>
            <a:ext cx="216000" cy="216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7" name="Textplatzhalter 21">
            <a:extLst>
              <a:ext uri="{FF2B5EF4-FFF2-40B4-BE49-F238E27FC236}">
                <a16:creationId xmlns:a16="http://schemas.microsoft.com/office/drawing/2014/main" id="{C83565C1-5285-E94A-60DD-16E3A675CF8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903997" y="3897974"/>
            <a:ext cx="216000" cy="216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8" name="Textplatzhalter 21">
            <a:extLst>
              <a:ext uri="{FF2B5EF4-FFF2-40B4-BE49-F238E27FC236}">
                <a16:creationId xmlns:a16="http://schemas.microsoft.com/office/drawing/2014/main" id="{131992C7-DC63-3A14-FE03-D483D8DCFAF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819997" y="3897974"/>
            <a:ext cx="216000" cy="216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9" name="Textplatzhalter 21">
            <a:extLst>
              <a:ext uri="{FF2B5EF4-FFF2-40B4-BE49-F238E27FC236}">
                <a16:creationId xmlns:a16="http://schemas.microsoft.com/office/drawing/2014/main" id="{1674CAD0-681F-7033-B6B6-7E310E1757F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735996" y="3897974"/>
            <a:ext cx="216000" cy="216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30" name="Textplatzhalter 21">
            <a:extLst>
              <a:ext uri="{FF2B5EF4-FFF2-40B4-BE49-F238E27FC236}">
                <a16:creationId xmlns:a16="http://schemas.microsoft.com/office/drawing/2014/main" id="{149FE609-B663-F204-000F-C09916E86AD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903997" y="5900962"/>
            <a:ext cx="216000" cy="216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31" name="Textplatzhalter 21">
            <a:extLst>
              <a:ext uri="{FF2B5EF4-FFF2-40B4-BE49-F238E27FC236}">
                <a16:creationId xmlns:a16="http://schemas.microsoft.com/office/drawing/2014/main" id="{67C59675-1AFB-5CE8-293E-E932233130C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819997" y="5900962"/>
            <a:ext cx="216000" cy="216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32" name="Textplatzhalter 21">
            <a:extLst>
              <a:ext uri="{FF2B5EF4-FFF2-40B4-BE49-F238E27FC236}">
                <a16:creationId xmlns:a16="http://schemas.microsoft.com/office/drawing/2014/main" id="{D906EE30-5A9F-6097-733F-43BFF9E2D19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735996" y="5900962"/>
            <a:ext cx="216000" cy="216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28487032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1588656"/>
            <a:ext cx="3344400" cy="458830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3BF2161A-1D67-0864-E091-399EA2349EA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23800" y="1588656"/>
            <a:ext cx="3344400" cy="458830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1DD3B35-DC6D-F9CC-A8C3-ECA856B9AB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28201" y="1588656"/>
            <a:ext cx="3344400" cy="4588308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</a:t>
            </a:r>
          </a:p>
          <a:p>
            <a:pPr lvl="6"/>
            <a:r>
              <a:rPr lang="de-DE"/>
              <a:t>Siebte</a:t>
            </a:r>
          </a:p>
          <a:p>
            <a:pPr lvl="7"/>
            <a:r>
              <a:rPr lang="de-DE"/>
              <a:t>Achte</a:t>
            </a:r>
          </a:p>
          <a:p>
            <a:pPr lvl="8"/>
            <a:r>
              <a:rPr lang="de-DE"/>
              <a:t>Neunte</a:t>
            </a:r>
          </a:p>
          <a:p>
            <a:pPr lvl="5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595517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1" y="1588656"/>
            <a:ext cx="3475691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157F4D65-1FB1-2AD7-C77B-BEC19B686AD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75092" y="1588656"/>
            <a:ext cx="7097509" cy="458830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21C6026B-A364-0C42-0B64-CE9CF5BBEF6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19401" y="3972810"/>
            <a:ext cx="3475691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6749806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1588656"/>
            <a:ext cx="2418300" cy="211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4F0F21B9-64AF-633E-8130-D4995B5BD5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497700" y="1588656"/>
            <a:ext cx="2418300" cy="211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1FB61E3F-5E2E-4C78-712D-C76998CD056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76000" y="1588656"/>
            <a:ext cx="2418300" cy="211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7841893D-BB8E-7668-A0A2-9276F7ED6DE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054300" y="1588656"/>
            <a:ext cx="2418300" cy="211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0710F704-F0C7-20AD-79A2-0C3E0A62A37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19400" y="4062810"/>
            <a:ext cx="2418300" cy="211415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7" name="Textplatzhalter 14">
            <a:extLst>
              <a:ext uri="{FF2B5EF4-FFF2-40B4-BE49-F238E27FC236}">
                <a16:creationId xmlns:a16="http://schemas.microsoft.com/office/drawing/2014/main" id="{0569FE23-9EEC-1B58-1278-0874641648C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497700" y="4062810"/>
            <a:ext cx="2418300" cy="211415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B341914A-3459-0005-FFB1-0DBEE2F9D06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76000" y="4062810"/>
            <a:ext cx="2418300" cy="211415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9" name="Textplatzhalter 14">
            <a:extLst>
              <a:ext uri="{FF2B5EF4-FFF2-40B4-BE49-F238E27FC236}">
                <a16:creationId xmlns:a16="http://schemas.microsoft.com/office/drawing/2014/main" id="{AAD9735B-1483-FC6A-17F2-222D6BE5053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54300" y="4062810"/>
            <a:ext cx="2418300" cy="211415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08085773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2259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A65709-8141-ABAA-A230-327EB45438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C70E5E-E921-12AC-50FA-1CF1D146B5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7D69E9-8798-C849-BAD2-446E4866B9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1075414-9429-3974-EF8C-4E7BA73D76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6988481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8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503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F739FF33-8F20-94A6-C925-699A0EB1D73E}"/>
              </a:ext>
            </a:extLst>
          </p:cNvPr>
          <p:cNvSpPr/>
          <p:nvPr userDrawn="1"/>
        </p:nvSpPr>
        <p:spPr>
          <a:xfrm>
            <a:off x="0" y="0"/>
            <a:ext cx="12192000" cy="6176964"/>
          </a:xfrm>
          <a:custGeom>
            <a:avLst/>
            <a:gdLst>
              <a:gd name="connsiteX0" fmla="*/ 719400 w 12192000"/>
              <a:gd name="connsiteY0" fmla="*/ 1185290 h 6176964"/>
              <a:gd name="connsiteX1" fmla="*/ 719400 w 12192000"/>
              <a:gd name="connsiteY1" fmla="*/ 1250090 h 6176964"/>
              <a:gd name="connsiteX2" fmla="*/ 2699400 w 12192000"/>
              <a:gd name="connsiteY2" fmla="*/ 1250090 h 6176964"/>
              <a:gd name="connsiteX3" fmla="*/ 2699400 w 12192000"/>
              <a:gd name="connsiteY3" fmla="*/ 1185290 h 6176964"/>
              <a:gd name="connsiteX4" fmla="*/ 0 w 12192000"/>
              <a:gd name="connsiteY4" fmla="*/ 0 h 6176964"/>
              <a:gd name="connsiteX5" fmla="*/ 12192000 w 12192000"/>
              <a:gd name="connsiteY5" fmla="*/ 0 h 6176964"/>
              <a:gd name="connsiteX6" fmla="*/ 12192000 w 12192000"/>
              <a:gd name="connsiteY6" fmla="*/ 6176964 h 6176964"/>
              <a:gd name="connsiteX7" fmla="*/ 0 w 12192000"/>
              <a:gd name="connsiteY7" fmla="*/ 6176964 h 6176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176964">
                <a:moveTo>
                  <a:pt x="719400" y="1185290"/>
                </a:moveTo>
                <a:lnTo>
                  <a:pt x="719400" y="1250090"/>
                </a:lnTo>
                <a:lnTo>
                  <a:pt x="2699400" y="1250090"/>
                </a:lnTo>
                <a:lnTo>
                  <a:pt x="2699400" y="118529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176964"/>
                </a:lnTo>
                <a:lnTo>
                  <a:pt x="0" y="6176964"/>
                </a:lnTo>
                <a:close/>
              </a:path>
            </a:pathLst>
          </a:custGeom>
          <a:gradFill>
            <a:gsLst>
              <a:gs pos="73441">
                <a:srgbClr val="006B99"/>
              </a:gs>
              <a:gs pos="31900">
                <a:srgbClr val="00579A"/>
              </a:gs>
              <a:gs pos="0">
                <a:srgbClr val="00499A"/>
              </a:gs>
              <a:gs pos="100000">
                <a:srgbClr val="007B9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DA65709-8141-ABAA-A230-327EB45438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C70E5E-E921-12AC-50FA-1CF1D146B5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7D69E9-8798-C849-BAD2-446E4866B9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1075414-9429-3974-EF8C-4E7BA73D76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pic>
        <p:nvPicPr>
          <p:cNvPr id="11" name="Picture 6" descr="Logo&#10;&#10;Description automatically generated">
            <a:extLst>
              <a:ext uri="{FF2B5EF4-FFF2-40B4-BE49-F238E27FC236}">
                <a16:creationId xmlns:a16="http://schemas.microsoft.com/office/drawing/2014/main" id="{C5DB168C-6CAB-FDD0-2F8A-273A8B40D6C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/>
        </p:blipFill>
        <p:spPr bwMode="auto">
          <a:xfrm>
            <a:off x="10748441" y="6324952"/>
            <a:ext cx="724160" cy="377823"/>
          </a:xfrm>
          <a:prstGeom prst="rect">
            <a:avLst/>
          </a:prstGeom>
        </p:spPr>
      </p:pic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63AFE5C1-10D1-A044-CBAA-9E5959B65691}"/>
              </a:ext>
            </a:extLst>
          </p:cNvPr>
          <p:cNvCxnSpPr/>
          <p:nvPr userDrawn="1"/>
        </p:nvCxnSpPr>
        <p:spPr>
          <a:xfrm>
            <a:off x="6096000" y="6558344"/>
            <a:ext cx="0" cy="197042"/>
          </a:xfrm>
          <a:prstGeom prst="line">
            <a:avLst/>
          </a:prstGeom>
          <a:ln w="19050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977487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2259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A65709-8141-ABAA-A230-327EB45438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C70E5E-E921-12AC-50FA-1CF1D146B5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7D69E9-8798-C849-BAD2-446E4866B9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1075414-9429-3974-EF8C-4E7BA73D76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E6CC737-E0BB-1F6E-AEA3-594F69068E8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93813" y="2208213"/>
            <a:ext cx="2520950" cy="2520950"/>
          </a:xfrm>
          <a:prstGeom prst="ellipse">
            <a:avLst/>
          </a:prstGeom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227125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443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Bildplatzhalter 7">
            <a:extLst>
              <a:ext uri="{FF2B5EF4-FFF2-40B4-BE49-F238E27FC236}">
                <a16:creationId xmlns:a16="http://schemas.microsoft.com/office/drawing/2014/main" id="{A9FBE15C-7B54-ED2F-BCBF-0B14E31D71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423200" y="0"/>
            <a:ext cx="4768800" cy="333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DD4EF2ED-35D5-7DA6-08F1-FF3E736B36B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2432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0" name="Bildplatzhalter 7">
            <a:extLst>
              <a:ext uri="{FF2B5EF4-FFF2-40B4-BE49-F238E27FC236}">
                <a16:creationId xmlns:a16="http://schemas.microsoft.com/office/drawing/2014/main" id="{F6C4FD13-A04F-A723-F557-D669197A9AF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423200" y="3519000"/>
            <a:ext cx="4768800" cy="333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9" name="Textplatzhalter 21">
            <a:extLst>
              <a:ext uri="{FF2B5EF4-FFF2-40B4-BE49-F238E27FC236}">
                <a16:creationId xmlns:a16="http://schemas.microsoft.com/office/drawing/2014/main" id="{87BB9C5A-DA6C-ACE1-91D6-F9455258B2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803200" y="6498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0" name="Textplatzhalter 21">
            <a:extLst>
              <a:ext uri="{FF2B5EF4-FFF2-40B4-BE49-F238E27FC236}">
                <a16:creationId xmlns:a16="http://schemas.microsoft.com/office/drawing/2014/main" id="{9B9669DA-CD6F-141B-2646-C514BAF0C23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752001" y="2979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1" name="Textplatzhalter 21">
            <a:extLst>
              <a:ext uri="{FF2B5EF4-FFF2-40B4-BE49-F238E27FC236}">
                <a16:creationId xmlns:a16="http://schemas.microsoft.com/office/drawing/2014/main" id="{94199FAA-A59E-6952-ED63-DDF4C7A6ABA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752001" y="6498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3341104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443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Bildplatzhalter 7">
            <a:extLst>
              <a:ext uri="{FF2B5EF4-FFF2-40B4-BE49-F238E27FC236}">
                <a16:creationId xmlns:a16="http://schemas.microsoft.com/office/drawing/2014/main" id="{A9FBE15C-7B54-ED2F-BCBF-0B14E31D71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423200" y="180000"/>
            <a:ext cx="4588800" cy="315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DD4EF2ED-35D5-7DA6-08F1-FF3E736B36B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80000" y="180000"/>
            <a:ext cx="7063200" cy="649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0" name="Bildplatzhalter 7">
            <a:extLst>
              <a:ext uri="{FF2B5EF4-FFF2-40B4-BE49-F238E27FC236}">
                <a16:creationId xmlns:a16="http://schemas.microsoft.com/office/drawing/2014/main" id="{F6C4FD13-A04F-A723-F557-D669197A9AF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423200" y="3519000"/>
            <a:ext cx="4588800" cy="315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9" name="Textplatzhalter 21">
            <a:extLst>
              <a:ext uri="{FF2B5EF4-FFF2-40B4-BE49-F238E27FC236}">
                <a16:creationId xmlns:a16="http://schemas.microsoft.com/office/drawing/2014/main" id="{87BB9C5A-DA6C-ACE1-91D6-F9455258B2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803200" y="6318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0" name="Textplatzhalter 21">
            <a:extLst>
              <a:ext uri="{FF2B5EF4-FFF2-40B4-BE49-F238E27FC236}">
                <a16:creationId xmlns:a16="http://schemas.microsoft.com/office/drawing/2014/main" id="{9B9669DA-CD6F-141B-2646-C514BAF0C23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72000" y="2979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1" name="Textplatzhalter 21">
            <a:extLst>
              <a:ext uri="{FF2B5EF4-FFF2-40B4-BE49-F238E27FC236}">
                <a16:creationId xmlns:a16="http://schemas.microsoft.com/office/drawing/2014/main" id="{94199FAA-A59E-6952-ED63-DDF4C7A6ABA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72000" y="6318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964533393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443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DD4EF2ED-35D5-7DA6-08F1-FF3E736B36B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5" name="Textplatzhalter 21">
            <a:extLst>
              <a:ext uri="{FF2B5EF4-FFF2-40B4-BE49-F238E27FC236}">
                <a16:creationId xmlns:a16="http://schemas.microsoft.com/office/drawing/2014/main" id="{CB4EAA0B-1A66-85E7-D0A6-BD4A940D255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752001" y="6498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044206246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443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DD4EF2ED-35D5-7DA6-08F1-FF3E736B36B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6495610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443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DD4EF2ED-35D5-7DA6-08F1-FF3E736B36B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80000" y="180000"/>
            <a:ext cx="11832000" cy="649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5" name="Textplatzhalter 21">
            <a:extLst>
              <a:ext uri="{FF2B5EF4-FFF2-40B4-BE49-F238E27FC236}">
                <a16:creationId xmlns:a16="http://schemas.microsoft.com/office/drawing/2014/main" id="{CB4EAA0B-1A66-85E7-D0A6-BD4A940D255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572000" y="6318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062668824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443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DD4EF2ED-35D5-7DA6-08F1-FF3E736B36B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6" name="Textplatzhalter 18">
            <a:extLst>
              <a:ext uri="{FF2B5EF4-FFF2-40B4-BE49-F238E27FC236}">
                <a16:creationId xmlns:a16="http://schemas.microsoft.com/office/drawing/2014/main" id="{3EEDBFFC-72D3-ECF6-A176-2C905389C30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9400" y="5732059"/>
            <a:ext cx="7108799" cy="7506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600"/>
              </a:spcBef>
              <a:buNone/>
              <a:defRPr sz="1200">
                <a:solidFill>
                  <a:schemeClr val="bg1"/>
                </a:solidFill>
              </a:defRPr>
            </a:lvl3pPr>
            <a:lvl4pPr>
              <a:defRPr sz="1600" b="1">
                <a:solidFill>
                  <a:schemeClr val="bg1"/>
                </a:solidFill>
                <a:latin typeface="+mj-lt"/>
              </a:defRPr>
            </a:lvl4pPr>
            <a:lvl5pPr marL="0" indent="0">
              <a:buNone/>
              <a:defRPr b="1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600"/>
              </a:spcBef>
              <a:buNone/>
              <a:defRPr sz="1200" b="1">
                <a:solidFill>
                  <a:schemeClr val="bg1"/>
                </a:solidFill>
                <a:latin typeface="+mj-lt"/>
              </a:defRPr>
            </a:lvl6pPr>
            <a:lvl7pPr>
              <a:defRPr sz="1600">
                <a:solidFill>
                  <a:schemeClr val="bg1"/>
                </a:solidFill>
              </a:defRPr>
            </a:lvl7pPr>
            <a:lvl8pPr>
              <a:spcAft>
                <a:spcPts val="0"/>
              </a:spcAft>
              <a:defRPr sz="1600" b="0" cap="none" spc="0" baseline="0">
                <a:solidFill>
                  <a:schemeClr val="bg1"/>
                </a:solidFill>
                <a:latin typeface="+mn-lt"/>
              </a:defRPr>
            </a:lvl8pPr>
            <a:lvl9pPr>
              <a:spcBef>
                <a:spcPts val="600"/>
              </a:spcBef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</a:t>
            </a:r>
          </a:p>
          <a:p>
            <a:pPr lvl="6"/>
            <a:r>
              <a:rPr lang="de-DE"/>
              <a:t>Siebte</a:t>
            </a:r>
          </a:p>
          <a:p>
            <a:pPr lvl="7"/>
            <a:r>
              <a:rPr lang="de-DE"/>
              <a:t>Achte</a:t>
            </a:r>
          </a:p>
          <a:p>
            <a:pPr lvl="8"/>
            <a:r>
              <a:rPr lang="de-DE"/>
              <a:t>neunt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858835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1" y="1588656"/>
            <a:ext cx="3099959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157F4D65-1FB1-2AD7-C77B-BEC19B686AD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999360" y="1588656"/>
            <a:ext cx="7473240" cy="458830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21C6026B-A364-0C42-0B64-CE9CF5BBEF6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19401" y="3972810"/>
            <a:ext cx="3099959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6814411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315CE12-2C9C-FC81-104F-740C25E0B9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531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315CE12-2C9C-FC81-104F-740C25E0B9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35810613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Video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0BA5F04-FFDA-E53F-9908-8C760547CB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5170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30BA5F04-FFDA-E53F-9908-8C760547CB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Medienplatzhalter 8">
            <a:extLst>
              <a:ext uri="{FF2B5EF4-FFF2-40B4-BE49-F238E27FC236}">
                <a16:creationId xmlns:a16="http://schemas.microsoft.com/office/drawing/2014/main" id="{8F8F0A20-182E-6520-6DB6-DD2A645B8057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9557966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userDrawn="1">
  <p:cSld name="Blank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21.10.2022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Helmholtz MU-Da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B2DC25EE-239B-4C5F-AAD1-255A7D5F1EE2}" type="slidenum">
              <a:rPr lang="en-US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4551538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Video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3813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Medienplatzhalter 17">
            <a:extLst>
              <a:ext uri="{FF2B5EF4-FFF2-40B4-BE49-F238E27FC236}">
                <a16:creationId xmlns:a16="http://schemas.microsoft.com/office/drawing/2014/main" id="{5FCA3402-2169-D2E7-B728-E412D3A6935A}"/>
              </a:ext>
            </a:extLst>
          </p:cNvPr>
          <p:cNvSpPr>
            <a:spLocks noGrp="1"/>
          </p:cNvSpPr>
          <p:nvPr>
            <p:ph type="media" sz="quarter" idx="26"/>
          </p:nvPr>
        </p:nvSpPr>
        <p:spPr>
          <a:xfrm>
            <a:off x="0" y="0"/>
            <a:ext cx="7243200" cy="6858000"/>
          </a:xfrm>
          <a:custGeom>
            <a:avLst/>
            <a:gdLst>
              <a:gd name="connsiteX0" fmla="*/ 719400 w 7243200"/>
              <a:gd name="connsiteY0" fmla="*/ 1185290 h 6858000"/>
              <a:gd name="connsiteX1" fmla="*/ 719400 w 7243200"/>
              <a:gd name="connsiteY1" fmla="*/ 1250090 h 6858000"/>
              <a:gd name="connsiteX2" fmla="*/ 2699400 w 7243200"/>
              <a:gd name="connsiteY2" fmla="*/ 1250090 h 6858000"/>
              <a:gd name="connsiteX3" fmla="*/ 2699400 w 7243200"/>
              <a:gd name="connsiteY3" fmla="*/ 1185290 h 6858000"/>
              <a:gd name="connsiteX4" fmla="*/ 0 w 7243200"/>
              <a:gd name="connsiteY4" fmla="*/ 0 h 6858000"/>
              <a:gd name="connsiteX5" fmla="*/ 7243200 w 7243200"/>
              <a:gd name="connsiteY5" fmla="*/ 0 h 6858000"/>
              <a:gd name="connsiteX6" fmla="*/ 7243200 w 7243200"/>
              <a:gd name="connsiteY6" fmla="*/ 6858000 h 6858000"/>
              <a:gd name="connsiteX7" fmla="*/ 0 w 724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43200" h="6858000">
                <a:moveTo>
                  <a:pt x="719400" y="1185290"/>
                </a:moveTo>
                <a:lnTo>
                  <a:pt x="719400" y="1250090"/>
                </a:lnTo>
                <a:lnTo>
                  <a:pt x="2699400" y="1250090"/>
                </a:lnTo>
                <a:lnTo>
                  <a:pt x="2699400" y="1185290"/>
                </a:lnTo>
                <a:close/>
                <a:moveTo>
                  <a:pt x="0" y="0"/>
                </a:moveTo>
                <a:lnTo>
                  <a:pt x="7243200" y="0"/>
                </a:lnTo>
                <a:lnTo>
                  <a:pt x="7243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endParaRPr lang="de-CH"/>
          </a:p>
        </p:txBody>
      </p:sp>
      <p:sp>
        <p:nvSpPr>
          <p:cNvPr id="19" name="Bildplatzhalter 7">
            <a:extLst>
              <a:ext uri="{FF2B5EF4-FFF2-40B4-BE49-F238E27FC236}">
                <a16:creationId xmlns:a16="http://schemas.microsoft.com/office/drawing/2014/main" id="{A9FBE15C-7B54-ED2F-BCBF-0B14E31D71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423200" y="0"/>
            <a:ext cx="4768800" cy="333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0" name="Bildplatzhalter 7">
            <a:extLst>
              <a:ext uri="{FF2B5EF4-FFF2-40B4-BE49-F238E27FC236}">
                <a16:creationId xmlns:a16="http://schemas.microsoft.com/office/drawing/2014/main" id="{F6C4FD13-A04F-A723-F557-D669197A9AF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423200" y="3519000"/>
            <a:ext cx="4768800" cy="333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9" name="Textplatzhalter 21">
            <a:extLst>
              <a:ext uri="{FF2B5EF4-FFF2-40B4-BE49-F238E27FC236}">
                <a16:creationId xmlns:a16="http://schemas.microsoft.com/office/drawing/2014/main" id="{87BB9C5A-DA6C-ACE1-91D6-F9455258B2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803200" y="6498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0" name="Textplatzhalter 21">
            <a:extLst>
              <a:ext uri="{FF2B5EF4-FFF2-40B4-BE49-F238E27FC236}">
                <a16:creationId xmlns:a16="http://schemas.microsoft.com/office/drawing/2014/main" id="{9B9669DA-CD6F-141B-2646-C514BAF0C23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752001" y="2979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1" name="Textplatzhalter 21">
            <a:extLst>
              <a:ext uri="{FF2B5EF4-FFF2-40B4-BE49-F238E27FC236}">
                <a16:creationId xmlns:a16="http://schemas.microsoft.com/office/drawing/2014/main" id="{94199FAA-A59E-6952-ED63-DDF4C7A6ABA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752001" y="6498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E6620D9-2122-0843-D9A4-2F9CA2A346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9400286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588656"/>
            <a:ext cx="2980500" cy="2249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A02864C5-4366-16ED-6DB2-4C9553AAFBD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70500" y="1588656"/>
            <a:ext cx="2980500" cy="2249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9" name="Bildplatzhalter 6">
            <a:extLst>
              <a:ext uri="{FF2B5EF4-FFF2-40B4-BE49-F238E27FC236}">
                <a16:creationId xmlns:a16="http://schemas.microsoft.com/office/drawing/2014/main" id="{6EB26956-3443-2588-79D4-8B011EC1F58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41000" y="1588656"/>
            <a:ext cx="2980500" cy="2249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977FBF0D-D23F-7FC7-08B9-9985D259830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211500" y="1588656"/>
            <a:ext cx="2980500" cy="2249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3" name="Bildplatzhalter 6">
            <a:extLst>
              <a:ext uri="{FF2B5EF4-FFF2-40B4-BE49-F238E27FC236}">
                <a16:creationId xmlns:a16="http://schemas.microsoft.com/office/drawing/2014/main" id="{17919BD3-D254-6B37-C602-AECE968E640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3927810"/>
            <a:ext cx="4515750" cy="2249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6" name="Bildplatzhalter 6">
            <a:extLst>
              <a:ext uri="{FF2B5EF4-FFF2-40B4-BE49-F238E27FC236}">
                <a16:creationId xmlns:a16="http://schemas.microsoft.com/office/drawing/2014/main" id="{6972EA1A-8245-B32A-A51F-7E740763EC8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4605750" y="3927810"/>
            <a:ext cx="1445250" cy="2249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7" name="Bildplatzhalter 6">
            <a:extLst>
              <a:ext uri="{FF2B5EF4-FFF2-40B4-BE49-F238E27FC236}">
                <a16:creationId xmlns:a16="http://schemas.microsoft.com/office/drawing/2014/main" id="{8E4E1AA1-113B-0644-8366-C732C0F6698E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141000" y="3927810"/>
            <a:ext cx="2980500" cy="2249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9" name="Bildplatzhalter 6">
            <a:extLst>
              <a:ext uri="{FF2B5EF4-FFF2-40B4-BE49-F238E27FC236}">
                <a16:creationId xmlns:a16="http://schemas.microsoft.com/office/drawing/2014/main" id="{02A562F8-6827-FAF0-6134-3549102813F9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9211500" y="3927810"/>
            <a:ext cx="2980500" cy="2249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2877431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+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8559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5016600" cy="1080656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05D378F-E0F1-6402-9CDA-98F867F294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9400" y="1588656"/>
            <a:ext cx="5016600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308848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A3425794-49E8-B9BB-B513-61F4A128EB4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3088482"/>
            <a:ext cx="3048000" cy="308848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6E4E7886-214B-68B2-0407-146D4692810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4000" y="3088482"/>
            <a:ext cx="3048000" cy="308848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3" name="Textplatzhalter 21">
            <a:extLst>
              <a:ext uri="{FF2B5EF4-FFF2-40B4-BE49-F238E27FC236}">
                <a16:creationId xmlns:a16="http://schemas.microsoft.com/office/drawing/2014/main" id="{FCF2FA91-7958-5123-871D-86843135C3A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2764482"/>
            <a:ext cx="1252900" cy="324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6pPr>
            <a:lvl7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7pPr>
            <a:lvl8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none" spc="0" baseline="0">
                <a:solidFill>
                  <a:schemeClr val="bg1"/>
                </a:solidFill>
                <a:latin typeface="+mn-lt"/>
              </a:defRPr>
            </a:lvl8pPr>
            <a:lvl9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spc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4" name="Textplatzhalter 21">
            <a:extLst>
              <a:ext uri="{FF2B5EF4-FFF2-40B4-BE49-F238E27FC236}">
                <a16:creationId xmlns:a16="http://schemas.microsoft.com/office/drawing/2014/main" id="{AEF9E182-85E0-C3B9-05F9-22B428E3BEB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44000" y="5852964"/>
            <a:ext cx="1252900" cy="324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6pPr>
            <a:lvl7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7pPr>
            <a:lvl8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none" spc="0" baseline="0">
                <a:solidFill>
                  <a:schemeClr val="bg1"/>
                </a:solidFill>
                <a:latin typeface="+mn-lt"/>
              </a:defRPr>
            </a:lvl8pPr>
            <a:lvl9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spc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5" name="Textplatzhalter 21">
            <a:extLst>
              <a:ext uri="{FF2B5EF4-FFF2-40B4-BE49-F238E27FC236}">
                <a16:creationId xmlns:a16="http://schemas.microsoft.com/office/drawing/2014/main" id="{7BE35BC1-57C7-4BD3-8FDC-E0A5BB0992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6000" y="5852964"/>
            <a:ext cx="1252900" cy="324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6pPr>
            <a:lvl7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7pPr>
            <a:lvl8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none" spc="0" baseline="0">
                <a:solidFill>
                  <a:schemeClr val="bg1"/>
                </a:solidFill>
                <a:latin typeface="+mn-lt"/>
              </a:defRPr>
            </a:lvl8pPr>
            <a:lvl9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spc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54546506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und Frei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5490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8CCFECA-7978-D051-BB72-9D7EF7108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400" y="1588656"/>
            <a:ext cx="6900599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93760594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8559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5016600" cy="1080656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05D378F-E0F1-6402-9CDA-98F867F294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9400" y="1588656"/>
            <a:ext cx="5016600" cy="458830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5pPr>
              <a:defRPr/>
            </a:lvl5pPr>
            <a:lvl6pPr marL="360000" indent="-180000">
              <a:spcBef>
                <a:spcPts val="300"/>
              </a:spcBef>
              <a:buFont typeface="Symbol" panose="05050102010706020507" pitchFamily="18" charset="2"/>
              <a:buChar char="-"/>
              <a:defRPr sz="1400"/>
            </a:lvl6pPr>
            <a:lvl7pPr marL="216000" indent="-216000">
              <a:spcBef>
                <a:spcPts val="1800"/>
              </a:spcBef>
              <a:buFont typeface="Arial" panose="020B0604020202020204" pitchFamily="34" charset="0"/>
              <a:buChar char="•"/>
              <a:defRPr/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308848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334BC1DD-CBD8-0F3D-8BCD-4DB9F2D42EA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8482"/>
            <a:ext cx="6096000" cy="308848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36901969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Frei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4841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399" y="0"/>
            <a:ext cx="5505909" cy="1080656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05D378F-E0F1-6402-9CDA-98F867F294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9400" y="1588657"/>
            <a:ext cx="5376600" cy="396577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3F4929B-EF2D-CB42-F0AD-CD5195B3DF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95820" y="323672"/>
            <a:ext cx="1025807" cy="1150931"/>
          </a:xfrm>
        </p:spPr>
        <p:txBody>
          <a:bodyPr/>
          <a:lstStyle/>
          <a:p>
            <a:endParaRPr lang="de-CH"/>
          </a:p>
        </p:txBody>
      </p:sp>
      <p:sp>
        <p:nvSpPr>
          <p:cNvPr id="29" name="Bildplatzhalter 6">
            <a:extLst>
              <a:ext uri="{FF2B5EF4-FFF2-40B4-BE49-F238E27FC236}">
                <a16:creationId xmlns:a16="http://schemas.microsoft.com/office/drawing/2014/main" id="{B408E2B6-E615-7498-2C3C-90072CFEF79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95820" y="1564603"/>
            <a:ext cx="1769678" cy="974152"/>
          </a:xfrm>
        </p:spPr>
        <p:txBody>
          <a:bodyPr/>
          <a:lstStyle/>
          <a:p>
            <a:endParaRPr lang="de-CH"/>
          </a:p>
        </p:txBody>
      </p:sp>
      <p:sp>
        <p:nvSpPr>
          <p:cNvPr id="31" name="Bildplatzhalter 6">
            <a:extLst>
              <a:ext uri="{FF2B5EF4-FFF2-40B4-BE49-F238E27FC236}">
                <a16:creationId xmlns:a16="http://schemas.microsoft.com/office/drawing/2014/main" id="{EFEA0139-FECF-EE00-F902-4D611CB42F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95820" y="3692907"/>
            <a:ext cx="1304759" cy="1075055"/>
          </a:xfrm>
        </p:spPr>
        <p:txBody>
          <a:bodyPr/>
          <a:lstStyle/>
          <a:p>
            <a:endParaRPr lang="de-CH"/>
          </a:p>
        </p:txBody>
      </p:sp>
      <p:sp>
        <p:nvSpPr>
          <p:cNvPr id="32" name="Bildplatzhalter 6">
            <a:extLst>
              <a:ext uri="{FF2B5EF4-FFF2-40B4-BE49-F238E27FC236}">
                <a16:creationId xmlns:a16="http://schemas.microsoft.com/office/drawing/2014/main" id="{DA0A911F-4116-DF25-AEB4-B27ABE05CD0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395820" y="4857963"/>
            <a:ext cx="1457453" cy="696470"/>
          </a:xfrm>
        </p:spPr>
        <p:txBody>
          <a:bodyPr/>
          <a:lstStyle/>
          <a:p>
            <a:endParaRPr lang="de-CH"/>
          </a:p>
        </p:txBody>
      </p:sp>
      <p:sp>
        <p:nvSpPr>
          <p:cNvPr id="42" name="Bildplatzhalter 6">
            <a:extLst>
              <a:ext uri="{FF2B5EF4-FFF2-40B4-BE49-F238E27FC236}">
                <a16:creationId xmlns:a16="http://schemas.microsoft.com/office/drawing/2014/main" id="{C8059DE0-3553-376C-92AA-8C59C57B682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943273" y="4857963"/>
            <a:ext cx="633880" cy="696470"/>
          </a:xfrm>
        </p:spPr>
        <p:txBody>
          <a:bodyPr/>
          <a:lstStyle/>
          <a:p>
            <a:endParaRPr lang="de-CH"/>
          </a:p>
        </p:txBody>
      </p:sp>
      <p:sp>
        <p:nvSpPr>
          <p:cNvPr id="43" name="Bildplatzhalter 6">
            <a:extLst>
              <a:ext uri="{FF2B5EF4-FFF2-40B4-BE49-F238E27FC236}">
                <a16:creationId xmlns:a16="http://schemas.microsoft.com/office/drawing/2014/main" id="{E0E53CFD-ADF7-AA2A-F501-D4960CEE6407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667155" y="4857963"/>
            <a:ext cx="827828" cy="696470"/>
          </a:xfrm>
        </p:spPr>
        <p:txBody>
          <a:bodyPr/>
          <a:lstStyle/>
          <a:p>
            <a:endParaRPr lang="de-CH"/>
          </a:p>
        </p:txBody>
      </p:sp>
      <p:sp>
        <p:nvSpPr>
          <p:cNvPr id="46" name="Bildplatzhalter 6">
            <a:extLst>
              <a:ext uri="{FF2B5EF4-FFF2-40B4-BE49-F238E27FC236}">
                <a16:creationId xmlns:a16="http://schemas.microsoft.com/office/drawing/2014/main" id="{5AA5E777-E026-63D9-6A7E-E0D2DA88D664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790580" y="3692907"/>
            <a:ext cx="1304759" cy="1075055"/>
          </a:xfrm>
        </p:spPr>
        <p:txBody>
          <a:bodyPr/>
          <a:lstStyle/>
          <a:p>
            <a:endParaRPr lang="de-CH"/>
          </a:p>
        </p:txBody>
      </p:sp>
      <p:sp>
        <p:nvSpPr>
          <p:cNvPr id="47" name="Bildplatzhalter 6">
            <a:extLst>
              <a:ext uri="{FF2B5EF4-FFF2-40B4-BE49-F238E27FC236}">
                <a16:creationId xmlns:a16="http://schemas.microsoft.com/office/drawing/2014/main" id="{1A1B2ABF-50A4-8422-250B-1A16B05F9EDF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185338" y="3692907"/>
            <a:ext cx="1304759" cy="1075055"/>
          </a:xfrm>
        </p:spPr>
        <p:txBody>
          <a:bodyPr/>
          <a:lstStyle/>
          <a:p>
            <a:endParaRPr lang="de-CH"/>
          </a:p>
        </p:txBody>
      </p:sp>
      <p:sp>
        <p:nvSpPr>
          <p:cNvPr id="48" name="Bildplatzhalter 6">
            <a:extLst>
              <a:ext uri="{FF2B5EF4-FFF2-40B4-BE49-F238E27FC236}">
                <a16:creationId xmlns:a16="http://schemas.microsoft.com/office/drawing/2014/main" id="{A8348DCA-5D20-9B51-2378-D306646C64A9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10580096" y="3692907"/>
            <a:ext cx="1304759" cy="1075055"/>
          </a:xfrm>
        </p:spPr>
        <p:txBody>
          <a:bodyPr/>
          <a:lstStyle/>
          <a:p>
            <a:endParaRPr lang="de-CH"/>
          </a:p>
        </p:txBody>
      </p:sp>
      <p:sp>
        <p:nvSpPr>
          <p:cNvPr id="49" name="Bildplatzhalter 6">
            <a:extLst>
              <a:ext uri="{FF2B5EF4-FFF2-40B4-BE49-F238E27FC236}">
                <a16:creationId xmlns:a16="http://schemas.microsoft.com/office/drawing/2014/main" id="{8516FB8D-C893-3F16-CE3D-09DFCD46BC6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255498" y="1564603"/>
            <a:ext cx="1769678" cy="2038304"/>
          </a:xfrm>
        </p:spPr>
        <p:txBody>
          <a:bodyPr/>
          <a:lstStyle/>
          <a:p>
            <a:endParaRPr lang="de-CH"/>
          </a:p>
        </p:txBody>
      </p:sp>
      <p:sp>
        <p:nvSpPr>
          <p:cNvPr id="50" name="Bildplatzhalter 6">
            <a:extLst>
              <a:ext uri="{FF2B5EF4-FFF2-40B4-BE49-F238E27FC236}">
                <a16:creationId xmlns:a16="http://schemas.microsoft.com/office/drawing/2014/main" id="{B08229A4-B2B7-B559-47D3-BDBAA7C11AAB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10115176" y="1564603"/>
            <a:ext cx="1769678" cy="2038304"/>
          </a:xfrm>
        </p:spPr>
        <p:txBody>
          <a:bodyPr/>
          <a:lstStyle/>
          <a:p>
            <a:endParaRPr lang="de-CH"/>
          </a:p>
        </p:txBody>
      </p:sp>
      <p:sp>
        <p:nvSpPr>
          <p:cNvPr id="51" name="Bildplatzhalter 6">
            <a:extLst>
              <a:ext uri="{FF2B5EF4-FFF2-40B4-BE49-F238E27FC236}">
                <a16:creationId xmlns:a16="http://schemas.microsoft.com/office/drawing/2014/main" id="{B5156C12-6731-868B-19D7-C6D24C6400B5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511626" y="323672"/>
            <a:ext cx="2141615" cy="1150931"/>
          </a:xfrm>
        </p:spPr>
        <p:txBody>
          <a:bodyPr/>
          <a:lstStyle/>
          <a:p>
            <a:endParaRPr lang="de-CH"/>
          </a:p>
        </p:txBody>
      </p:sp>
      <p:sp>
        <p:nvSpPr>
          <p:cNvPr id="53" name="Bildplatzhalter 6">
            <a:extLst>
              <a:ext uri="{FF2B5EF4-FFF2-40B4-BE49-F238E27FC236}">
                <a16:creationId xmlns:a16="http://schemas.microsoft.com/office/drawing/2014/main" id="{C7A1A0BB-537F-AA3A-E9CB-5370BF03BD94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743242" y="323672"/>
            <a:ext cx="1025807" cy="1150931"/>
          </a:xfrm>
        </p:spPr>
        <p:txBody>
          <a:bodyPr/>
          <a:lstStyle/>
          <a:p>
            <a:endParaRPr lang="de-CH"/>
          </a:p>
        </p:txBody>
      </p:sp>
      <p:sp>
        <p:nvSpPr>
          <p:cNvPr id="54" name="Bildplatzhalter 6">
            <a:extLst>
              <a:ext uri="{FF2B5EF4-FFF2-40B4-BE49-F238E27FC236}">
                <a16:creationId xmlns:a16="http://schemas.microsoft.com/office/drawing/2014/main" id="{491EF4FE-4073-9A31-31E5-5A63FBE39D18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0859048" y="323672"/>
            <a:ext cx="1025807" cy="1150931"/>
          </a:xfrm>
        </p:spPr>
        <p:txBody>
          <a:bodyPr/>
          <a:lstStyle/>
          <a:p>
            <a:endParaRPr lang="de-CH"/>
          </a:p>
        </p:txBody>
      </p:sp>
      <p:sp>
        <p:nvSpPr>
          <p:cNvPr id="55" name="Bildplatzhalter 6">
            <a:extLst>
              <a:ext uri="{FF2B5EF4-FFF2-40B4-BE49-F238E27FC236}">
                <a16:creationId xmlns:a16="http://schemas.microsoft.com/office/drawing/2014/main" id="{9A08401D-1C9E-E896-7DB5-52A3389D1C2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9584982" y="4857963"/>
            <a:ext cx="916752" cy="696470"/>
          </a:xfrm>
        </p:spPr>
        <p:txBody>
          <a:bodyPr/>
          <a:lstStyle/>
          <a:p>
            <a:endParaRPr lang="de-CH"/>
          </a:p>
        </p:txBody>
      </p:sp>
      <p:sp>
        <p:nvSpPr>
          <p:cNvPr id="56" name="Bildplatzhalter 6">
            <a:extLst>
              <a:ext uri="{FF2B5EF4-FFF2-40B4-BE49-F238E27FC236}">
                <a16:creationId xmlns:a16="http://schemas.microsoft.com/office/drawing/2014/main" id="{702C346D-32A1-4414-87C7-119C4B42949A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10591735" y="4857963"/>
            <a:ext cx="1293122" cy="696470"/>
          </a:xfrm>
        </p:spPr>
        <p:txBody>
          <a:bodyPr/>
          <a:lstStyle/>
          <a:p>
            <a:endParaRPr lang="de-CH"/>
          </a:p>
        </p:txBody>
      </p:sp>
      <p:sp>
        <p:nvSpPr>
          <p:cNvPr id="63" name="Bildplatzhalter 6">
            <a:extLst>
              <a:ext uri="{FF2B5EF4-FFF2-40B4-BE49-F238E27FC236}">
                <a16:creationId xmlns:a16="http://schemas.microsoft.com/office/drawing/2014/main" id="{4E3F5442-4550-61CA-CE15-FA539EC1B131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6395820" y="2628755"/>
            <a:ext cx="1769678" cy="974152"/>
          </a:xfrm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5991465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+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342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Bildplatzhalter 7">
            <a:extLst>
              <a:ext uri="{FF2B5EF4-FFF2-40B4-BE49-F238E27FC236}">
                <a16:creationId xmlns:a16="http://schemas.microsoft.com/office/drawing/2014/main" id="{A9FBE15C-7B54-ED2F-BCBF-0B14E31D71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423200" y="0"/>
            <a:ext cx="4768800" cy="333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F3421B65-75D9-E551-7206-80402C4B038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243200" cy="6858000"/>
          </a:xfrm>
          <a:custGeom>
            <a:avLst/>
            <a:gdLst>
              <a:gd name="connsiteX0" fmla="*/ 719400 w 7243200"/>
              <a:gd name="connsiteY0" fmla="*/ 1185290 h 6858000"/>
              <a:gd name="connsiteX1" fmla="*/ 719400 w 7243200"/>
              <a:gd name="connsiteY1" fmla="*/ 1250090 h 6858000"/>
              <a:gd name="connsiteX2" fmla="*/ 2699400 w 7243200"/>
              <a:gd name="connsiteY2" fmla="*/ 1250090 h 6858000"/>
              <a:gd name="connsiteX3" fmla="*/ 2699400 w 7243200"/>
              <a:gd name="connsiteY3" fmla="*/ 1185290 h 6858000"/>
              <a:gd name="connsiteX4" fmla="*/ 0 w 7243200"/>
              <a:gd name="connsiteY4" fmla="*/ 0 h 6858000"/>
              <a:gd name="connsiteX5" fmla="*/ 7243200 w 7243200"/>
              <a:gd name="connsiteY5" fmla="*/ 0 h 6858000"/>
              <a:gd name="connsiteX6" fmla="*/ 7243200 w 7243200"/>
              <a:gd name="connsiteY6" fmla="*/ 6858000 h 6858000"/>
              <a:gd name="connsiteX7" fmla="*/ 0 w 724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43200" h="6858000">
                <a:moveTo>
                  <a:pt x="719400" y="1185290"/>
                </a:moveTo>
                <a:lnTo>
                  <a:pt x="719400" y="1250090"/>
                </a:lnTo>
                <a:lnTo>
                  <a:pt x="2699400" y="1250090"/>
                </a:lnTo>
                <a:lnTo>
                  <a:pt x="2699400" y="1185290"/>
                </a:lnTo>
                <a:close/>
                <a:moveTo>
                  <a:pt x="0" y="0"/>
                </a:moveTo>
                <a:lnTo>
                  <a:pt x="7243200" y="0"/>
                </a:lnTo>
                <a:lnTo>
                  <a:pt x="72432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de-CH"/>
          </a:p>
        </p:txBody>
      </p:sp>
      <p:sp>
        <p:nvSpPr>
          <p:cNvPr id="20" name="Bildplatzhalter 7">
            <a:extLst>
              <a:ext uri="{FF2B5EF4-FFF2-40B4-BE49-F238E27FC236}">
                <a16:creationId xmlns:a16="http://schemas.microsoft.com/office/drawing/2014/main" id="{F6C4FD13-A04F-A723-F557-D669197A9AF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423200" y="3519000"/>
            <a:ext cx="4768800" cy="333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9" name="Textplatzhalter 21">
            <a:extLst>
              <a:ext uri="{FF2B5EF4-FFF2-40B4-BE49-F238E27FC236}">
                <a16:creationId xmlns:a16="http://schemas.microsoft.com/office/drawing/2014/main" id="{87BB9C5A-DA6C-ACE1-91D6-F9455258B2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62813" y="6498000"/>
            <a:ext cx="780387" cy="360000"/>
          </a:xfrm>
          <a:solidFill>
            <a:schemeClr val="tx2">
              <a:alpha val="80000"/>
            </a:schemeClr>
          </a:solidFill>
        </p:spPr>
        <p:txBody>
          <a:bodyPr wrap="none" lIns="180000" tIns="180000" rIns="180000" bIns="180000"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0" name="Textplatzhalter 21">
            <a:extLst>
              <a:ext uri="{FF2B5EF4-FFF2-40B4-BE49-F238E27FC236}">
                <a16:creationId xmlns:a16="http://schemas.microsoft.com/office/drawing/2014/main" id="{9B9669DA-CD6F-141B-2646-C514BAF0C23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411612" y="2979000"/>
            <a:ext cx="780388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1" name="Textplatzhalter 21">
            <a:extLst>
              <a:ext uri="{FF2B5EF4-FFF2-40B4-BE49-F238E27FC236}">
                <a16:creationId xmlns:a16="http://schemas.microsoft.com/office/drawing/2014/main" id="{94199FAA-A59E-6952-ED63-DDF4C7A6ABA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411611" y="6498000"/>
            <a:ext cx="780387" cy="360000"/>
          </a:xfrm>
          <a:solidFill>
            <a:schemeClr val="tx2">
              <a:alpha val="80000"/>
            </a:schemeClr>
          </a:solidFill>
        </p:spPr>
        <p:txBody>
          <a:bodyPr wrap="none" lIns="180000" tIns="180000" rIns="180000" bIns="180000"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C23F135-B5E0-B2C1-EBA4-8C921B7EAE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915096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0996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447BBCF4-4C61-3F03-96B8-86FFC3C24D5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76964"/>
          </a:xfrm>
          <a:custGeom>
            <a:avLst/>
            <a:gdLst>
              <a:gd name="connsiteX0" fmla="*/ 719400 w 12192000"/>
              <a:gd name="connsiteY0" fmla="*/ 1185290 h 6176964"/>
              <a:gd name="connsiteX1" fmla="*/ 719400 w 12192000"/>
              <a:gd name="connsiteY1" fmla="*/ 1250090 h 6176964"/>
              <a:gd name="connsiteX2" fmla="*/ 2699400 w 12192000"/>
              <a:gd name="connsiteY2" fmla="*/ 1250090 h 6176964"/>
              <a:gd name="connsiteX3" fmla="*/ 2699400 w 12192000"/>
              <a:gd name="connsiteY3" fmla="*/ 1185290 h 6176964"/>
              <a:gd name="connsiteX4" fmla="*/ 0 w 12192000"/>
              <a:gd name="connsiteY4" fmla="*/ 0 h 6176964"/>
              <a:gd name="connsiteX5" fmla="*/ 12192000 w 12192000"/>
              <a:gd name="connsiteY5" fmla="*/ 0 h 6176964"/>
              <a:gd name="connsiteX6" fmla="*/ 12192000 w 12192000"/>
              <a:gd name="connsiteY6" fmla="*/ 6176964 h 6176964"/>
              <a:gd name="connsiteX7" fmla="*/ 0 w 12192000"/>
              <a:gd name="connsiteY7" fmla="*/ 6176964 h 6176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176964">
                <a:moveTo>
                  <a:pt x="719400" y="1185290"/>
                </a:moveTo>
                <a:lnTo>
                  <a:pt x="719400" y="1250090"/>
                </a:lnTo>
                <a:lnTo>
                  <a:pt x="2699400" y="1250090"/>
                </a:lnTo>
                <a:lnTo>
                  <a:pt x="2699400" y="118529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176964"/>
                </a:lnTo>
                <a:lnTo>
                  <a:pt x="0" y="6176964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81712" y="6589397"/>
            <a:ext cx="907473" cy="134936"/>
          </a:xfrm>
        </p:spPr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pic>
        <p:nvPicPr>
          <p:cNvPr id="12" name="Picture 6" descr="Logo&#10;&#10;Description automatically generated">
            <a:extLst>
              <a:ext uri="{FF2B5EF4-FFF2-40B4-BE49-F238E27FC236}">
                <a16:creationId xmlns:a16="http://schemas.microsoft.com/office/drawing/2014/main" id="{7824872E-2E83-A986-E826-90DAEC17065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10748441" y="6324952"/>
            <a:ext cx="724160" cy="377823"/>
          </a:xfrm>
          <a:prstGeom prst="rect">
            <a:avLst/>
          </a:prstGeom>
        </p:spPr>
      </p:pic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0141999-0CC1-0748-41C7-25843012BCC0}"/>
              </a:ext>
            </a:extLst>
          </p:cNvPr>
          <p:cNvCxnSpPr/>
          <p:nvPr userDrawn="1"/>
        </p:nvCxnSpPr>
        <p:spPr>
          <a:xfrm>
            <a:off x="6096000" y="6558344"/>
            <a:ext cx="0" cy="197042"/>
          </a:xfrm>
          <a:prstGeom prst="line">
            <a:avLst/>
          </a:prstGeom>
          <a:ln w="19050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B89B0A-5863-5544-351E-EFB4DED787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21894" y="2463282"/>
            <a:ext cx="4250705" cy="3180136"/>
          </a:xfrm>
          <a:solidFill>
            <a:schemeClr val="tx2">
              <a:alpha val="80000"/>
            </a:schemeClr>
          </a:solidFill>
        </p:spPr>
        <p:txBody>
          <a:bodyPr lIns="216000" tIns="216000" rIns="216000" bIns="21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</a:t>
            </a:r>
          </a:p>
          <a:p>
            <a:pPr lvl="6"/>
            <a:r>
              <a:rPr lang="de-DE"/>
              <a:t>Siebte</a:t>
            </a:r>
          </a:p>
          <a:p>
            <a:pPr lvl="7"/>
            <a:r>
              <a:rPr lang="de-DE"/>
              <a:t>Achte</a:t>
            </a:r>
          </a:p>
          <a:p>
            <a:pPr lvl="8"/>
            <a:r>
              <a:rPr lang="de-DE"/>
              <a:t>Neunt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9947766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0996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447BBCF4-4C61-3F03-96B8-86FFC3C24D5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76964"/>
          </a:xfrm>
          <a:custGeom>
            <a:avLst/>
            <a:gdLst>
              <a:gd name="connsiteX0" fmla="*/ 719400 w 12192000"/>
              <a:gd name="connsiteY0" fmla="*/ 1185290 h 6176964"/>
              <a:gd name="connsiteX1" fmla="*/ 719400 w 12192000"/>
              <a:gd name="connsiteY1" fmla="*/ 1250090 h 6176964"/>
              <a:gd name="connsiteX2" fmla="*/ 2699400 w 12192000"/>
              <a:gd name="connsiteY2" fmla="*/ 1250090 h 6176964"/>
              <a:gd name="connsiteX3" fmla="*/ 2699400 w 12192000"/>
              <a:gd name="connsiteY3" fmla="*/ 1185290 h 6176964"/>
              <a:gd name="connsiteX4" fmla="*/ 0 w 12192000"/>
              <a:gd name="connsiteY4" fmla="*/ 0 h 6176964"/>
              <a:gd name="connsiteX5" fmla="*/ 12192000 w 12192000"/>
              <a:gd name="connsiteY5" fmla="*/ 0 h 6176964"/>
              <a:gd name="connsiteX6" fmla="*/ 12192000 w 12192000"/>
              <a:gd name="connsiteY6" fmla="*/ 6176964 h 6176964"/>
              <a:gd name="connsiteX7" fmla="*/ 0 w 12192000"/>
              <a:gd name="connsiteY7" fmla="*/ 6176964 h 6176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176964">
                <a:moveTo>
                  <a:pt x="719400" y="1185290"/>
                </a:moveTo>
                <a:lnTo>
                  <a:pt x="719400" y="1250090"/>
                </a:lnTo>
                <a:lnTo>
                  <a:pt x="2699400" y="1250090"/>
                </a:lnTo>
                <a:lnTo>
                  <a:pt x="2699400" y="118529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176964"/>
                </a:lnTo>
                <a:lnTo>
                  <a:pt x="0" y="6176964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pic>
        <p:nvPicPr>
          <p:cNvPr id="12" name="Picture 6" descr="Logo&#10;&#10;Description automatically generated">
            <a:extLst>
              <a:ext uri="{FF2B5EF4-FFF2-40B4-BE49-F238E27FC236}">
                <a16:creationId xmlns:a16="http://schemas.microsoft.com/office/drawing/2014/main" id="{7824872E-2E83-A986-E826-90DAEC17065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10748441" y="6324952"/>
            <a:ext cx="724160" cy="377823"/>
          </a:xfrm>
          <a:prstGeom prst="rect">
            <a:avLst/>
          </a:prstGeom>
        </p:spPr>
      </p:pic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0141999-0CC1-0748-41C7-25843012BCC0}"/>
              </a:ext>
            </a:extLst>
          </p:cNvPr>
          <p:cNvCxnSpPr/>
          <p:nvPr userDrawn="1"/>
        </p:nvCxnSpPr>
        <p:spPr>
          <a:xfrm>
            <a:off x="6096000" y="6558344"/>
            <a:ext cx="0" cy="197042"/>
          </a:xfrm>
          <a:prstGeom prst="line">
            <a:avLst/>
          </a:prstGeom>
          <a:ln w="19050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22050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703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9A963634-F058-34AF-375E-ED6FC5315BDB}"/>
              </a:ext>
            </a:extLst>
          </p:cNvPr>
          <p:cNvSpPr/>
          <p:nvPr userDrawn="1"/>
        </p:nvSpPr>
        <p:spPr>
          <a:xfrm>
            <a:off x="249382" y="1080656"/>
            <a:ext cx="2854036" cy="41243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447BBCF4-4C61-3F03-96B8-86FFC3C24D5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76964"/>
          </a:xfrm>
          <a:custGeom>
            <a:avLst/>
            <a:gdLst>
              <a:gd name="connsiteX0" fmla="*/ 719400 w 12192000"/>
              <a:gd name="connsiteY0" fmla="*/ 1185290 h 6176964"/>
              <a:gd name="connsiteX1" fmla="*/ 719400 w 12192000"/>
              <a:gd name="connsiteY1" fmla="*/ 1250090 h 6176964"/>
              <a:gd name="connsiteX2" fmla="*/ 2699400 w 12192000"/>
              <a:gd name="connsiteY2" fmla="*/ 1250090 h 6176964"/>
              <a:gd name="connsiteX3" fmla="*/ 2699400 w 12192000"/>
              <a:gd name="connsiteY3" fmla="*/ 1185290 h 6176964"/>
              <a:gd name="connsiteX4" fmla="*/ 0 w 12192000"/>
              <a:gd name="connsiteY4" fmla="*/ 0 h 6176964"/>
              <a:gd name="connsiteX5" fmla="*/ 12192000 w 12192000"/>
              <a:gd name="connsiteY5" fmla="*/ 0 h 6176964"/>
              <a:gd name="connsiteX6" fmla="*/ 12192000 w 12192000"/>
              <a:gd name="connsiteY6" fmla="*/ 6176964 h 6176964"/>
              <a:gd name="connsiteX7" fmla="*/ 0 w 12192000"/>
              <a:gd name="connsiteY7" fmla="*/ 6176964 h 6176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176964">
                <a:moveTo>
                  <a:pt x="719400" y="1185290"/>
                </a:moveTo>
                <a:lnTo>
                  <a:pt x="719400" y="1250090"/>
                </a:lnTo>
                <a:lnTo>
                  <a:pt x="2699400" y="1250090"/>
                </a:lnTo>
                <a:lnTo>
                  <a:pt x="2699400" y="118529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176964"/>
                </a:lnTo>
                <a:lnTo>
                  <a:pt x="0" y="6176964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CH" sz="3000" b="1" kern="1200">
                <a:gradFill>
                  <a:gsLst>
                    <a:gs pos="73441">
                      <a:srgbClr val="006B99"/>
                    </a:gs>
                    <a:gs pos="31900">
                      <a:srgbClr val="00579A"/>
                    </a:gs>
                    <a:gs pos="0">
                      <a:srgbClr val="004A9A"/>
                    </a:gs>
                    <a:gs pos="100000">
                      <a:srgbClr val="007B98"/>
                    </a:gs>
                  </a:gsLst>
                  <a:path path="circle">
                    <a:fillToRect t="100000" r="100000"/>
                  </a:path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pic>
        <p:nvPicPr>
          <p:cNvPr id="12" name="Picture 6" descr="Logo&#10;&#10;Description automatically generated">
            <a:extLst>
              <a:ext uri="{FF2B5EF4-FFF2-40B4-BE49-F238E27FC236}">
                <a16:creationId xmlns:a16="http://schemas.microsoft.com/office/drawing/2014/main" id="{7824872E-2E83-A986-E826-90DAEC17065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10748441" y="6324952"/>
            <a:ext cx="724160" cy="377823"/>
          </a:xfrm>
          <a:prstGeom prst="rect">
            <a:avLst/>
          </a:prstGeom>
        </p:spPr>
      </p:pic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0141999-0CC1-0748-41C7-25843012BCC0}"/>
              </a:ext>
            </a:extLst>
          </p:cNvPr>
          <p:cNvCxnSpPr/>
          <p:nvPr userDrawn="1"/>
        </p:nvCxnSpPr>
        <p:spPr>
          <a:xfrm>
            <a:off x="6096000" y="6558344"/>
            <a:ext cx="0" cy="197042"/>
          </a:xfrm>
          <a:prstGeom prst="line">
            <a:avLst/>
          </a:prstGeom>
          <a:ln w="19050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076768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ECAD9894-B8A2-5A51-40E3-2E8C79B3DD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4350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ECAD9894-B8A2-5A51-40E3-2E8C79B3DD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52379C3F-DF66-5129-6A03-D3EFA97CAFB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B98C35-7E26-5A4C-C1BF-B0E4721B52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4012" y="209619"/>
            <a:ext cx="6751782" cy="2387600"/>
          </a:xfrm>
        </p:spPr>
        <p:txBody>
          <a:bodyPr vert="horz" anchor="b">
            <a:noAutofit/>
          </a:bodyPr>
          <a:lstStyle>
            <a:lvl1pPr algn="l">
              <a:defRPr sz="5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34E2A02-E20E-0919-A5FE-BBE4ABF01B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4012" y="2689294"/>
            <a:ext cx="9144000" cy="1655762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5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24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120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Master-Untertitelformat bearbeiten</a:t>
            </a:r>
          </a:p>
          <a:p>
            <a:pPr lvl="1"/>
            <a:r>
              <a:rPr lang="de-DE"/>
              <a:t>2</a:t>
            </a:r>
          </a:p>
          <a:p>
            <a:pPr lvl="2"/>
            <a:r>
              <a:rPr lang="de-DE"/>
              <a:t>3</a:t>
            </a:r>
          </a:p>
          <a:p>
            <a:pPr lvl="3"/>
            <a:r>
              <a:rPr lang="de-DE"/>
              <a:t>4</a:t>
            </a:r>
          </a:p>
          <a:p>
            <a:pPr lvl="4"/>
            <a:r>
              <a:rPr lang="de-DE"/>
              <a:t>5</a:t>
            </a:r>
          </a:p>
          <a:p>
            <a:pPr lvl="5"/>
            <a:r>
              <a:rPr lang="de-DE"/>
              <a:t>6</a:t>
            </a:r>
          </a:p>
          <a:p>
            <a:pPr lvl="6"/>
            <a:r>
              <a:rPr lang="de-DE"/>
              <a:t>7</a:t>
            </a:r>
          </a:p>
          <a:p>
            <a:pPr lvl="7"/>
            <a:r>
              <a:rPr lang="de-DE"/>
              <a:t>8</a:t>
            </a:r>
          </a:p>
          <a:p>
            <a:pPr lvl="8"/>
            <a:r>
              <a:rPr lang="de-DE"/>
              <a:t>9</a:t>
            </a:r>
            <a:endParaRPr lang="de-CH"/>
          </a:p>
        </p:txBody>
      </p:sp>
      <p:sp>
        <p:nvSpPr>
          <p:cNvPr id="10" name="SmartArt-Platzhalter 9">
            <a:extLst>
              <a:ext uri="{FF2B5EF4-FFF2-40B4-BE49-F238E27FC236}">
                <a16:creationId xmlns:a16="http://schemas.microsoft.com/office/drawing/2014/main" id="{900D4142-8B8F-8CA1-F1BB-BCB44D04A098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664012" y="4996806"/>
            <a:ext cx="2510262" cy="1307978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50852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7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420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9A963634-F058-34AF-375E-ED6FC5315BDB}"/>
              </a:ext>
            </a:extLst>
          </p:cNvPr>
          <p:cNvSpPr/>
          <p:nvPr userDrawn="1"/>
        </p:nvSpPr>
        <p:spPr>
          <a:xfrm>
            <a:off x="249382" y="1080656"/>
            <a:ext cx="2854036" cy="41243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C15A1E8E-6D31-9BDC-63FA-6635894335E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719400 w 12192000"/>
              <a:gd name="connsiteY0" fmla="*/ 1185290 h 6858000"/>
              <a:gd name="connsiteX1" fmla="*/ 719400 w 12192000"/>
              <a:gd name="connsiteY1" fmla="*/ 1250090 h 6858000"/>
              <a:gd name="connsiteX2" fmla="*/ 2699400 w 12192000"/>
              <a:gd name="connsiteY2" fmla="*/ 1250090 h 6858000"/>
              <a:gd name="connsiteX3" fmla="*/ 2699400 w 12192000"/>
              <a:gd name="connsiteY3" fmla="*/ 118529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719400" y="1185290"/>
                </a:moveTo>
                <a:lnTo>
                  <a:pt x="719400" y="1250090"/>
                </a:lnTo>
                <a:lnTo>
                  <a:pt x="2699400" y="1250090"/>
                </a:lnTo>
                <a:lnTo>
                  <a:pt x="2699400" y="118529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CH" sz="3000" b="1" kern="1200">
                <a:gradFill>
                  <a:gsLst>
                    <a:gs pos="73441">
                      <a:srgbClr val="006B99"/>
                    </a:gs>
                    <a:gs pos="31900">
                      <a:srgbClr val="00579A"/>
                    </a:gs>
                    <a:gs pos="0">
                      <a:srgbClr val="004A9A"/>
                    </a:gs>
                    <a:gs pos="100000">
                      <a:srgbClr val="007B98"/>
                    </a:gs>
                  </a:gsLst>
                  <a:path path="circle">
                    <a:fillToRect t="100000" r="100000"/>
                  </a:path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050944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9486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4E0EDA89-723D-08CE-A606-B48FBD1843E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719400 w 12192000"/>
              <a:gd name="connsiteY0" fmla="*/ 1185290 h 6858000"/>
              <a:gd name="connsiteX1" fmla="*/ 719400 w 12192000"/>
              <a:gd name="connsiteY1" fmla="*/ 1250090 h 6858000"/>
              <a:gd name="connsiteX2" fmla="*/ 2699400 w 12192000"/>
              <a:gd name="connsiteY2" fmla="*/ 1250090 h 6858000"/>
              <a:gd name="connsiteX3" fmla="*/ 2699400 w 12192000"/>
              <a:gd name="connsiteY3" fmla="*/ 118529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719400" y="1185290"/>
                </a:moveTo>
                <a:lnTo>
                  <a:pt x="719400" y="1250090"/>
                </a:lnTo>
                <a:lnTo>
                  <a:pt x="2699400" y="1250090"/>
                </a:lnTo>
                <a:lnTo>
                  <a:pt x="2699400" y="118529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384679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1BF45906-3170-3791-5C0B-4825495BF315}"/>
              </a:ext>
            </a:extLst>
          </p:cNvPr>
          <p:cNvSpPr>
            <a:spLocks noGrp="1"/>
          </p:cNvSpPr>
          <p:nvPr>
            <p:ph type="media" sz="quarter" idx="11"/>
          </p:nvPr>
        </p:nvSpPr>
        <p:spPr>
          <a:xfrm>
            <a:off x="0" y="0"/>
            <a:ext cx="121920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9486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91951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4793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FA05F197-BA9C-07BF-6811-2FC654B48B4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192000" cy="3922714"/>
          </a:xfrm>
          <a:custGeom>
            <a:avLst/>
            <a:gdLst>
              <a:gd name="connsiteX0" fmla="*/ 719400 w 12192000"/>
              <a:gd name="connsiteY0" fmla="*/ 1185290 h 3922714"/>
              <a:gd name="connsiteX1" fmla="*/ 719400 w 12192000"/>
              <a:gd name="connsiteY1" fmla="*/ 1250090 h 3922714"/>
              <a:gd name="connsiteX2" fmla="*/ 2699400 w 12192000"/>
              <a:gd name="connsiteY2" fmla="*/ 1250090 h 3922714"/>
              <a:gd name="connsiteX3" fmla="*/ 2699400 w 12192000"/>
              <a:gd name="connsiteY3" fmla="*/ 1185290 h 3922714"/>
              <a:gd name="connsiteX4" fmla="*/ 0 w 12192000"/>
              <a:gd name="connsiteY4" fmla="*/ 0 h 3922714"/>
              <a:gd name="connsiteX5" fmla="*/ 12192000 w 12192000"/>
              <a:gd name="connsiteY5" fmla="*/ 0 h 3922714"/>
              <a:gd name="connsiteX6" fmla="*/ 12192000 w 12192000"/>
              <a:gd name="connsiteY6" fmla="*/ 3922714 h 3922714"/>
              <a:gd name="connsiteX7" fmla="*/ 0 w 12192000"/>
              <a:gd name="connsiteY7" fmla="*/ 3922714 h 3922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922714">
                <a:moveTo>
                  <a:pt x="719400" y="1185290"/>
                </a:moveTo>
                <a:lnTo>
                  <a:pt x="719400" y="1250090"/>
                </a:lnTo>
                <a:lnTo>
                  <a:pt x="2699400" y="1250090"/>
                </a:lnTo>
                <a:lnTo>
                  <a:pt x="2699400" y="118529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922714"/>
                </a:lnTo>
                <a:lnTo>
                  <a:pt x="0" y="3922714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9420D374-CF7B-6362-4815-F1A812A8BE8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9400" y="4300538"/>
            <a:ext cx="7048800" cy="18764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29" name="Picture 6" descr="Logo&#10;&#10;Description automatically generated">
            <a:extLst>
              <a:ext uri="{FF2B5EF4-FFF2-40B4-BE49-F238E27FC236}">
                <a16:creationId xmlns:a16="http://schemas.microsoft.com/office/drawing/2014/main" id="{A8E757DE-FEFD-3B73-044D-2A129AD4F50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10748441" y="6324952"/>
            <a:ext cx="724160" cy="377823"/>
          </a:xfrm>
          <a:prstGeom prst="rect">
            <a:avLst/>
          </a:prstGeom>
        </p:spPr>
      </p:pic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77290C06-770E-7828-1A68-3ED4E8758650}"/>
              </a:ext>
            </a:extLst>
          </p:cNvPr>
          <p:cNvCxnSpPr/>
          <p:nvPr userDrawn="1"/>
        </p:nvCxnSpPr>
        <p:spPr>
          <a:xfrm>
            <a:off x="6096000" y="6558344"/>
            <a:ext cx="0" cy="197042"/>
          </a:xfrm>
          <a:prstGeom prst="line">
            <a:avLst/>
          </a:prstGeom>
          <a:ln w="19050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61236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1588654"/>
            <a:ext cx="7108799" cy="3780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FF3AE96C-EB9B-D733-73B8-6CEFBF12F2C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008201" y="1588654"/>
            <a:ext cx="3464402" cy="3780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9420D374-CF7B-6362-4815-F1A812A8BE8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9400" y="5467928"/>
            <a:ext cx="7108799" cy="709036"/>
          </a:xfrm>
        </p:spPr>
        <p:txBody>
          <a:bodyPr/>
          <a:lstStyle>
            <a:lvl2pPr marL="0" indent="0">
              <a:buNone/>
              <a:defRPr sz="1400"/>
            </a:lvl2pPr>
            <a:lvl3pPr marL="0" indent="0">
              <a:spcBef>
                <a:spcPts val="600"/>
              </a:spcBef>
              <a:buNone/>
              <a:defRPr sz="1200"/>
            </a:lvl3pPr>
            <a:lvl4pPr>
              <a:defRPr sz="1600" b="1">
                <a:solidFill>
                  <a:schemeClr val="tx2"/>
                </a:solidFill>
                <a:latin typeface="+mj-lt"/>
              </a:defRPr>
            </a:lvl4pPr>
            <a:lvl5pPr marL="0" indent="0">
              <a:buNone/>
              <a:defRPr b="1">
                <a:solidFill>
                  <a:schemeClr val="tx2"/>
                </a:solidFill>
                <a:latin typeface="+mj-lt"/>
              </a:defRPr>
            </a:lvl5pPr>
            <a:lvl6pPr marL="0" indent="0">
              <a:spcBef>
                <a:spcPts val="60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6pPr>
            <a:lvl7pPr>
              <a:defRPr sz="1600"/>
            </a:lvl7pPr>
            <a:lvl8pPr>
              <a:spcAft>
                <a:spcPts val="0"/>
              </a:spcAft>
              <a:defRPr sz="1600" b="0" cap="none" spc="0" baseline="0">
                <a:solidFill>
                  <a:schemeClr val="tx1"/>
                </a:solidFill>
                <a:latin typeface="+mn-lt"/>
              </a:defRPr>
            </a:lvl8pPr>
            <a:lvl9pPr>
              <a:spcBef>
                <a:spcPts val="600"/>
              </a:spcBef>
              <a:spcAft>
                <a:spcPts val="0"/>
              </a:spcAft>
              <a:defRPr sz="1600">
                <a:latin typeface="+mn-lt"/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</a:t>
            </a:r>
          </a:p>
          <a:p>
            <a:pPr lvl="6"/>
            <a:r>
              <a:rPr lang="de-DE"/>
              <a:t>Siebte</a:t>
            </a:r>
          </a:p>
          <a:p>
            <a:pPr lvl="7"/>
            <a:r>
              <a:rPr lang="de-DE"/>
              <a:t>Achte</a:t>
            </a:r>
          </a:p>
          <a:p>
            <a:pPr lvl="8"/>
            <a:r>
              <a:rPr lang="de-DE"/>
              <a:t>neunte</a:t>
            </a:r>
            <a:endParaRPr lang="de-CH"/>
          </a:p>
        </p:txBody>
      </p:sp>
      <p:sp>
        <p:nvSpPr>
          <p:cNvPr id="11" name="Textplatzhalter 18">
            <a:extLst>
              <a:ext uri="{FF2B5EF4-FFF2-40B4-BE49-F238E27FC236}">
                <a16:creationId xmlns:a16="http://schemas.microsoft.com/office/drawing/2014/main" id="{2E8EEAB1-FE4C-AE40-DE9E-7B7FA3F9784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08201" y="5467928"/>
            <a:ext cx="3464402" cy="709036"/>
          </a:xfrm>
        </p:spPr>
        <p:txBody>
          <a:bodyPr/>
          <a:lstStyle>
            <a:lvl2pPr marL="0" indent="0">
              <a:buNone/>
              <a:defRPr sz="1400"/>
            </a:lvl2pPr>
            <a:lvl3pPr marL="0" indent="0">
              <a:spcBef>
                <a:spcPts val="600"/>
              </a:spcBef>
              <a:buNone/>
              <a:defRPr sz="1200"/>
            </a:lvl3pPr>
            <a:lvl4pPr>
              <a:defRPr sz="1600" b="1">
                <a:solidFill>
                  <a:schemeClr val="tx2"/>
                </a:solidFill>
                <a:latin typeface="+mj-lt"/>
              </a:defRPr>
            </a:lvl4pPr>
            <a:lvl5pPr marL="0" indent="0">
              <a:buNone/>
              <a:defRPr b="1">
                <a:solidFill>
                  <a:schemeClr val="tx2"/>
                </a:solidFill>
                <a:latin typeface="+mj-lt"/>
              </a:defRPr>
            </a:lvl5pPr>
            <a:lvl6pPr marL="0" indent="0">
              <a:spcBef>
                <a:spcPts val="60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6pPr>
            <a:lvl7pPr>
              <a:defRPr sz="1600"/>
            </a:lvl7pPr>
            <a:lvl8pPr>
              <a:spcAft>
                <a:spcPts val="0"/>
              </a:spcAft>
              <a:defRPr sz="1600" b="0" cap="none" spc="0" baseline="0">
                <a:solidFill>
                  <a:schemeClr val="tx1"/>
                </a:solidFill>
                <a:latin typeface="+mn-lt"/>
              </a:defRPr>
            </a:lvl8pPr>
            <a:lvl9pPr>
              <a:spcBef>
                <a:spcPts val="600"/>
              </a:spcBef>
              <a:spcAft>
                <a:spcPts val="0"/>
              </a:spcAft>
              <a:defRPr sz="1600">
                <a:latin typeface="+mn-lt"/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</a:t>
            </a:r>
          </a:p>
          <a:p>
            <a:pPr lvl="6"/>
            <a:r>
              <a:rPr lang="de-DE"/>
              <a:t>Siebte</a:t>
            </a:r>
          </a:p>
          <a:p>
            <a:pPr lvl="7"/>
            <a:r>
              <a:rPr lang="de-DE"/>
              <a:t>Achte</a:t>
            </a:r>
          </a:p>
          <a:p>
            <a:pPr lvl="8"/>
            <a:r>
              <a:rPr lang="de-DE"/>
              <a:t>neunt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495324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399" y="1588654"/>
            <a:ext cx="3836357" cy="3780000"/>
          </a:xfrm>
          <a:noFill/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9420D374-CF7B-6362-4815-F1A812A8BE8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9399" y="5467928"/>
            <a:ext cx="10753198" cy="709036"/>
          </a:xfrm>
        </p:spPr>
        <p:txBody>
          <a:bodyPr/>
          <a:lstStyle>
            <a:lvl1pPr algn="r">
              <a:defRPr/>
            </a:lvl1pPr>
            <a:lvl2pPr marL="0" indent="0" algn="r">
              <a:buNone/>
              <a:defRPr sz="1400"/>
            </a:lvl2pPr>
            <a:lvl3pPr marL="0" indent="0" algn="r">
              <a:spcBef>
                <a:spcPts val="600"/>
              </a:spcBef>
              <a:buNone/>
              <a:defRPr sz="1200"/>
            </a:lvl3pPr>
            <a:lvl4pPr algn="r">
              <a:defRPr sz="1600" b="1">
                <a:solidFill>
                  <a:schemeClr val="tx2"/>
                </a:solidFill>
                <a:latin typeface="+mj-lt"/>
              </a:defRPr>
            </a:lvl4pPr>
            <a:lvl5pPr marL="0" indent="0" algn="r">
              <a:buNone/>
              <a:defRPr b="1">
                <a:solidFill>
                  <a:schemeClr val="tx2"/>
                </a:solidFill>
                <a:latin typeface="+mj-lt"/>
              </a:defRPr>
            </a:lvl5pPr>
            <a:lvl6pPr marL="0" indent="0" algn="r">
              <a:spcBef>
                <a:spcPts val="60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6pPr>
            <a:lvl7pPr algn="r">
              <a:defRPr sz="1600"/>
            </a:lvl7pPr>
            <a:lvl8pPr algn="r">
              <a:spcAft>
                <a:spcPts val="0"/>
              </a:spcAft>
              <a:defRPr sz="1600" b="0" cap="none" spc="0" baseline="0">
                <a:solidFill>
                  <a:schemeClr val="tx1"/>
                </a:solidFill>
                <a:latin typeface="+mn-lt"/>
              </a:defRPr>
            </a:lvl8pPr>
            <a:lvl9pPr algn="r">
              <a:spcBef>
                <a:spcPts val="600"/>
              </a:spcBef>
              <a:spcAft>
                <a:spcPts val="0"/>
              </a:spcAft>
              <a:defRPr sz="1600">
                <a:latin typeface="+mn-lt"/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</a:t>
            </a:r>
          </a:p>
          <a:p>
            <a:pPr lvl="6"/>
            <a:r>
              <a:rPr lang="de-DE"/>
              <a:t>Siebte</a:t>
            </a:r>
          </a:p>
          <a:p>
            <a:pPr lvl="7"/>
            <a:r>
              <a:rPr lang="de-DE"/>
              <a:t>Achte</a:t>
            </a:r>
          </a:p>
          <a:p>
            <a:pPr lvl="8"/>
            <a:r>
              <a:rPr lang="de-DE"/>
              <a:t>neunte</a:t>
            </a:r>
            <a:endParaRPr lang="de-CH"/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19824028-0824-DC06-EE0A-57862948463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752113" y="1588654"/>
            <a:ext cx="2720485" cy="1800000"/>
          </a:xfrm>
          <a:noFill/>
        </p:spPr>
        <p:txBody>
          <a:bodyPr/>
          <a:lstStyle/>
          <a:p>
            <a:endParaRPr lang="de-CH"/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5477749C-A253-AB66-A24F-D42051DA8EB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752113" y="3568653"/>
            <a:ext cx="2720485" cy="1800000"/>
          </a:xfrm>
          <a:noFill/>
        </p:spPr>
        <p:txBody>
          <a:bodyPr/>
          <a:lstStyle/>
          <a:p>
            <a:endParaRPr lang="de-CH"/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8F814476-DD3D-62D3-DE3B-6BE2FFF46A7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735756" y="1588654"/>
            <a:ext cx="3836357" cy="3780000"/>
          </a:xfrm>
          <a:noFill/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7177789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1588654"/>
            <a:ext cx="7108799" cy="458831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FF3AE96C-EB9B-D733-73B8-6CEFBF12F2C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008201" y="1588654"/>
            <a:ext cx="3464402" cy="458831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65368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1588656"/>
            <a:ext cx="3464400" cy="3509817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D4D8E73D-FA72-0183-C8D7-872846DB098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63800" y="1588657"/>
            <a:ext cx="3464400" cy="3509817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3DAC1BAE-4389-CF9D-56A7-8A9AFC18D3B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08200" y="1588657"/>
            <a:ext cx="3464400" cy="3509817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5C1AE9-9C46-D5BF-821E-91F15A67734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9400" y="5269344"/>
            <a:ext cx="3464400" cy="9076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18D52A40-7F98-0248-4937-F4665837A6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3800" y="5269344"/>
            <a:ext cx="3464400" cy="90762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1EED39CD-40FD-9184-008C-43F63B9F348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08200" y="5269344"/>
            <a:ext cx="3464400" cy="9076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430906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1588656"/>
            <a:ext cx="3464400" cy="3509817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D4D8E73D-FA72-0183-C8D7-872846DB098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63800" y="1588656"/>
            <a:ext cx="3464400" cy="350981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3DAC1BAE-4389-CF9D-56A7-8A9AFC18D3B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08200" y="1588656"/>
            <a:ext cx="3464400" cy="350981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5C1AE9-9C46-D5BF-821E-91F15A67734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9400" y="5269344"/>
            <a:ext cx="3464400" cy="907620"/>
          </a:xfrm>
        </p:spPr>
        <p:txBody>
          <a:bodyPr/>
          <a:lstStyle>
            <a:lvl3pPr marL="216000" indent="0">
              <a:buNone/>
              <a:defRPr/>
            </a:lvl3pPr>
            <a:lvl5pPr>
              <a:defRPr/>
            </a:lvl5pPr>
            <a:lvl8pPr algn="ctr">
              <a:defRPr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18D52A40-7F98-0248-4937-F4665837A6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3800" y="5269344"/>
            <a:ext cx="3464400" cy="907620"/>
          </a:xfrm>
        </p:spPr>
        <p:txBody>
          <a:bodyPr/>
          <a:lstStyle>
            <a:lvl3pPr marL="216000" indent="0">
              <a:buNone/>
              <a:defRPr/>
            </a:lvl3pPr>
            <a:lvl5pPr>
              <a:defRPr/>
            </a:lvl5pPr>
            <a:lvl8pPr algn="ctr">
              <a:defRPr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1EED39CD-40FD-9184-008C-43F63B9F348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08200" y="5269344"/>
            <a:ext cx="3464400" cy="907620"/>
          </a:xfrm>
        </p:spPr>
        <p:txBody>
          <a:bodyPr/>
          <a:lstStyle>
            <a:lvl3pPr marL="216000" indent="0">
              <a:buNone/>
              <a:defRPr/>
            </a:lvl3pPr>
            <a:lvl5pPr>
              <a:defRPr/>
            </a:lvl5pPr>
            <a:lvl8pPr algn="ctr">
              <a:defRPr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7DBBAB0-116A-146B-C095-7369DF99D9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9401" y="1588656"/>
            <a:ext cx="3464400" cy="583043"/>
          </a:xfrm>
          <a:solidFill>
            <a:schemeClr val="tx2">
              <a:alpha val="80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platzhalter 10">
            <a:extLst>
              <a:ext uri="{FF2B5EF4-FFF2-40B4-BE49-F238E27FC236}">
                <a16:creationId xmlns:a16="http://schemas.microsoft.com/office/drawing/2014/main" id="{7EAF7E54-4289-7550-3414-7FA78C125BF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63801" y="1588656"/>
            <a:ext cx="3464400" cy="583043"/>
          </a:xfrm>
          <a:solidFill>
            <a:schemeClr val="tx2">
              <a:alpha val="80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10">
            <a:extLst>
              <a:ext uri="{FF2B5EF4-FFF2-40B4-BE49-F238E27FC236}">
                <a16:creationId xmlns:a16="http://schemas.microsoft.com/office/drawing/2014/main" id="{4FBD6550-8407-D6CA-1DC9-2E27693387C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008200" y="1588656"/>
            <a:ext cx="3464400" cy="583043"/>
          </a:xfrm>
          <a:solidFill>
            <a:schemeClr val="tx2">
              <a:alpha val="80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44134118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2154784"/>
            <a:ext cx="3464400" cy="3377797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D4D8E73D-FA72-0183-C8D7-872846DB098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63800" y="2154784"/>
            <a:ext cx="3464400" cy="337779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3DAC1BAE-4389-CF9D-56A7-8A9AFC18D3B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08200" y="2154784"/>
            <a:ext cx="3464400" cy="337779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5C1AE9-9C46-D5BF-821E-91F15A67734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9400" y="5643418"/>
            <a:ext cx="3464400" cy="533546"/>
          </a:xfrm>
        </p:spPr>
        <p:txBody>
          <a:bodyPr/>
          <a:lstStyle>
            <a:lvl3pPr marL="216000" indent="0">
              <a:buNone/>
              <a:defRPr/>
            </a:lvl3pPr>
            <a:lvl5pPr>
              <a:defRPr/>
            </a:lvl5pPr>
            <a:lvl8pPr algn="ctr">
              <a:defRPr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18D52A40-7F98-0248-4937-F4665837A6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3800" y="5643418"/>
            <a:ext cx="3464400" cy="533546"/>
          </a:xfrm>
        </p:spPr>
        <p:txBody>
          <a:bodyPr/>
          <a:lstStyle>
            <a:lvl3pPr marL="216000" indent="0">
              <a:buNone/>
              <a:defRPr/>
            </a:lvl3pPr>
            <a:lvl5pPr>
              <a:defRPr/>
            </a:lvl5pPr>
            <a:lvl8pPr algn="ctr">
              <a:defRPr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1EED39CD-40FD-9184-008C-43F63B9F348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08200" y="5643418"/>
            <a:ext cx="3464400" cy="533546"/>
          </a:xfrm>
        </p:spPr>
        <p:txBody>
          <a:bodyPr/>
          <a:lstStyle>
            <a:lvl3pPr marL="216000" indent="0">
              <a:buNone/>
              <a:defRPr/>
            </a:lvl3pPr>
            <a:lvl5pPr>
              <a:defRPr/>
            </a:lvl5pPr>
            <a:lvl8pPr algn="ctr">
              <a:defRPr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7DBBAB0-116A-146B-C095-7369DF99D9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9401" y="2154784"/>
            <a:ext cx="3464400" cy="583043"/>
          </a:xfrm>
          <a:solidFill>
            <a:schemeClr val="tx2">
              <a:alpha val="80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platzhalter 10">
            <a:extLst>
              <a:ext uri="{FF2B5EF4-FFF2-40B4-BE49-F238E27FC236}">
                <a16:creationId xmlns:a16="http://schemas.microsoft.com/office/drawing/2014/main" id="{7EAF7E54-4289-7550-3414-7FA78C125BF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63801" y="2154784"/>
            <a:ext cx="3464400" cy="583043"/>
          </a:xfrm>
          <a:solidFill>
            <a:schemeClr val="tx2">
              <a:alpha val="80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10">
            <a:extLst>
              <a:ext uri="{FF2B5EF4-FFF2-40B4-BE49-F238E27FC236}">
                <a16:creationId xmlns:a16="http://schemas.microsoft.com/office/drawing/2014/main" id="{4FBD6550-8407-D6CA-1DC9-2E27693387C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008200" y="2154784"/>
            <a:ext cx="3464400" cy="583043"/>
          </a:xfrm>
          <a:solidFill>
            <a:schemeClr val="tx2">
              <a:alpha val="80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22EA76FD-556E-2758-D5FF-EDEAE489380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587600"/>
            <a:ext cx="10753200" cy="406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083101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bschnitts-&#10;überschrift">
    <p:bg>
      <p:bgPr>
        <a:gradFill flip="none" rotWithShape="1">
          <a:gsLst>
            <a:gs pos="73441">
              <a:srgbClr val="006B99"/>
            </a:gs>
            <a:gs pos="31900">
              <a:srgbClr val="00579A"/>
            </a:gs>
            <a:gs pos="0">
              <a:srgbClr val="00499A"/>
            </a:gs>
            <a:gs pos="100000">
              <a:srgbClr val="007B98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1B9B6D0-B599-0C8D-4823-428FF29E6F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4513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1B9B6D0-B599-0C8D-4823-428FF29E6F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524F1C7-D140-C006-B1B1-7D88B2F41D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812049"/>
            <a:ext cx="7379277" cy="2852737"/>
          </a:xfrm>
        </p:spPr>
        <p:txBody>
          <a:bodyPr vert="horz" anchor="b">
            <a:noAutofit/>
          </a:bodyPr>
          <a:lstStyle>
            <a:lvl1pPr>
              <a:defRPr sz="5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0DF45D-BD5E-DF7E-357F-B116607AF8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188141"/>
            <a:ext cx="7379277" cy="100382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 spc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200" b="0" spc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00" b="0" spc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2200" b="0" spc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2200" b="0" spc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2200" b="0" spc="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2200" b="0" spc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2200" b="0" spc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2200" b="0" spc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60489169-EFC4-3DBC-8BB0-A923C0AF98EA}"/>
              </a:ext>
            </a:extLst>
          </p:cNvPr>
          <p:cNvSpPr/>
          <p:nvPr userDrawn="1"/>
        </p:nvSpPr>
        <p:spPr>
          <a:xfrm>
            <a:off x="831851" y="3868054"/>
            <a:ext cx="3569466" cy="1168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357" tIns="53678" rIns="107357" bIns="53678"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899362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1588656"/>
            <a:ext cx="5196600" cy="458830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C44D772C-24CA-2944-8EB1-A8690B38AF6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76000" y="1588656"/>
            <a:ext cx="5196600" cy="458830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9161792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1588656"/>
            <a:ext cx="5196600" cy="3334326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C44D772C-24CA-2944-8EB1-A8690B38AF6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76000" y="1588656"/>
            <a:ext cx="5196600" cy="3334326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F0E355D-820E-C73A-4F87-99E159428F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9400" y="5178427"/>
            <a:ext cx="10753200" cy="9985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Textplatzhalter 21">
            <a:extLst>
              <a:ext uri="{FF2B5EF4-FFF2-40B4-BE49-F238E27FC236}">
                <a16:creationId xmlns:a16="http://schemas.microsoft.com/office/drawing/2014/main" id="{986D29A7-EFB0-7474-4498-E6FD8FC3FC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9399" y="4598982"/>
            <a:ext cx="3960000" cy="324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6pPr>
            <a:lvl7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7pPr>
            <a:lvl8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none" spc="0" baseline="0">
                <a:solidFill>
                  <a:schemeClr val="bg1"/>
                </a:solidFill>
                <a:latin typeface="+mn-lt"/>
              </a:defRPr>
            </a:lvl8pPr>
            <a:lvl9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spc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2" name="Textplatzhalter 21">
            <a:extLst>
              <a:ext uri="{FF2B5EF4-FFF2-40B4-BE49-F238E27FC236}">
                <a16:creationId xmlns:a16="http://schemas.microsoft.com/office/drawing/2014/main" id="{DE3A2276-4AB5-CA7C-68CF-6783BCDC0C8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75999" y="4598982"/>
            <a:ext cx="3960000" cy="324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6pPr>
            <a:lvl7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7pPr>
            <a:lvl8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none" spc="0" baseline="0">
                <a:solidFill>
                  <a:schemeClr val="bg1"/>
                </a:solidFill>
                <a:latin typeface="+mn-lt"/>
              </a:defRPr>
            </a:lvl8pPr>
            <a:lvl9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spc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35077364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0756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1588656"/>
            <a:ext cx="5196600" cy="458830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05D378F-E0F1-6402-9CDA-98F867F294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6000" y="1588656"/>
            <a:ext cx="5196600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106543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3885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05D378F-E0F1-6402-9CDA-98F867F294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9400" y="1588656"/>
            <a:ext cx="5196600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6000" y="1588656"/>
            <a:ext cx="5196600" cy="458830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7746553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8559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5016600" cy="1080656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05D378F-E0F1-6402-9CDA-98F867F294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9400" y="1588656"/>
            <a:ext cx="5016600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17696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7403839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Frei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4841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399" y="0"/>
            <a:ext cx="5505909" cy="1080656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05D378F-E0F1-6402-9CDA-98F867F294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9400" y="1588656"/>
            <a:ext cx="5376600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141160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Frei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4841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399" y="0"/>
            <a:ext cx="5505909" cy="1080656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05D378F-E0F1-6402-9CDA-98F867F294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9400" y="1588657"/>
            <a:ext cx="5376600" cy="396577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3F4929B-EF2D-CB42-F0AD-CD5195B3DF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95820" y="323672"/>
            <a:ext cx="1025807" cy="1150931"/>
          </a:xfrm>
        </p:spPr>
        <p:txBody>
          <a:bodyPr/>
          <a:lstStyle/>
          <a:p>
            <a:endParaRPr lang="de-CH"/>
          </a:p>
        </p:txBody>
      </p:sp>
      <p:sp>
        <p:nvSpPr>
          <p:cNvPr id="29" name="Bildplatzhalter 6">
            <a:extLst>
              <a:ext uri="{FF2B5EF4-FFF2-40B4-BE49-F238E27FC236}">
                <a16:creationId xmlns:a16="http://schemas.microsoft.com/office/drawing/2014/main" id="{B408E2B6-E615-7498-2C3C-90072CFEF79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95820" y="1564603"/>
            <a:ext cx="1769678" cy="974152"/>
          </a:xfrm>
        </p:spPr>
        <p:txBody>
          <a:bodyPr/>
          <a:lstStyle/>
          <a:p>
            <a:endParaRPr lang="de-CH"/>
          </a:p>
        </p:txBody>
      </p:sp>
      <p:sp>
        <p:nvSpPr>
          <p:cNvPr id="31" name="Bildplatzhalter 6">
            <a:extLst>
              <a:ext uri="{FF2B5EF4-FFF2-40B4-BE49-F238E27FC236}">
                <a16:creationId xmlns:a16="http://schemas.microsoft.com/office/drawing/2014/main" id="{EFEA0139-FECF-EE00-F902-4D611CB42F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95820" y="3692907"/>
            <a:ext cx="1304759" cy="1075055"/>
          </a:xfrm>
        </p:spPr>
        <p:txBody>
          <a:bodyPr/>
          <a:lstStyle/>
          <a:p>
            <a:endParaRPr lang="de-CH"/>
          </a:p>
        </p:txBody>
      </p:sp>
      <p:sp>
        <p:nvSpPr>
          <p:cNvPr id="32" name="Bildplatzhalter 6">
            <a:extLst>
              <a:ext uri="{FF2B5EF4-FFF2-40B4-BE49-F238E27FC236}">
                <a16:creationId xmlns:a16="http://schemas.microsoft.com/office/drawing/2014/main" id="{DA0A911F-4116-DF25-AEB4-B27ABE05CD0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395820" y="4857963"/>
            <a:ext cx="1457453" cy="696470"/>
          </a:xfrm>
        </p:spPr>
        <p:txBody>
          <a:bodyPr/>
          <a:lstStyle/>
          <a:p>
            <a:endParaRPr lang="de-CH"/>
          </a:p>
        </p:txBody>
      </p:sp>
      <p:sp>
        <p:nvSpPr>
          <p:cNvPr id="42" name="Bildplatzhalter 6">
            <a:extLst>
              <a:ext uri="{FF2B5EF4-FFF2-40B4-BE49-F238E27FC236}">
                <a16:creationId xmlns:a16="http://schemas.microsoft.com/office/drawing/2014/main" id="{C8059DE0-3553-376C-92AA-8C59C57B682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943273" y="4857963"/>
            <a:ext cx="633880" cy="696470"/>
          </a:xfrm>
        </p:spPr>
        <p:txBody>
          <a:bodyPr/>
          <a:lstStyle/>
          <a:p>
            <a:endParaRPr lang="de-CH"/>
          </a:p>
        </p:txBody>
      </p:sp>
      <p:sp>
        <p:nvSpPr>
          <p:cNvPr id="43" name="Bildplatzhalter 6">
            <a:extLst>
              <a:ext uri="{FF2B5EF4-FFF2-40B4-BE49-F238E27FC236}">
                <a16:creationId xmlns:a16="http://schemas.microsoft.com/office/drawing/2014/main" id="{E0E53CFD-ADF7-AA2A-F501-D4960CEE6407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667155" y="4857963"/>
            <a:ext cx="827828" cy="696470"/>
          </a:xfrm>
        </p:spPr>
        <p:txBody>
          <a:bodyPr/>
          <a:lstStyle/>
          <a:p>
            <a:endParaRPr lang="de-CH"/>
          </a:p>
        </p:txBody>
      </p:sp>
      <p:sp>
        <p:nvSpPr>
          <p:cNvPr id="46" name="Bildplatzhalter 6">
            <a:extLst>
              <a:ext uri="{FF2B5EF4-FFF2-40B4-BE49-F238E27FC236}">
                <a16:creationId xmlns:a16="http://schemas.microsoft.com/office/drawing/2014/main" id="{5AA5E777-E026-63D9-6A7E-E0D2DA88D664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790580" y="3692907"/>
            <a:ext cx="1304759" cy="1075055"/>
          </a:xfrm>
        </p:spPr>
        <p:txBody>
          <a:bodyPr/>
          <a:lstStyle/>
          <a:p>
            <a:endParaRPr lang="de-CH"/>
          </a:p>
        </p:txBody>
      </p:sp>
      <p:sp>
        <p:nvSpPr>
          <p:cNvPr id="47" name="Bildplatzhalter 6">
            <a:extLst>
              <a:ext uri="{FF2B5EF4-FFF2-40B4-BE49-F238E27FC236}">
                <a16:creationId xmlns:a16="http://schemas.microsoft.com/office/drawing/2014/main" id="{1A1B2ABF-50A4-8422-250B-1A16B05F9EDF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185338" y="3692907"/>
            <a:ext cx="1304759" cy="1075055"/>
          </a:xfrm>
        </p:spPr>
        <p:txBody>
          <a:bodyPr/>
          <a:lstStyle/>
          <a:p>
            <a:endParaRPr lang="de-CH"/>
          </a:p>
        </p:txBody>
      </p:sp>
      <p:sp>
        <p:nvSpPr>
          <p:cNvPr id="48" name="Bildplatzhalter 6">
            <a:extLst>
              <a:ext uri="{FF2B5EF4-FFF2-40B4-BE49-F238E27FC236}">
                <a16:creationId xmlns:a16="http://schemas.microsoft.com/office/drawing/2014/main" id="{A8348DCA-5D20-9B51-2378-D306646C64A9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10580096" y="3692907"/>
            <a:ext cx="1304759" cy="1075055"/>
          </a:xfrm>
        </p:spPr>
        <p:txBody>
          <a:bodyPr/>
          <a:lstStyle/>
          <a:p>
            <a:endParaRPr lang="de-CH"/>
          </a:p>
        </p:txBody>
      </p:sp>
      <p:sp>
        <p:nvSpPr>
          <p:cNvPr id="49" name="Bildplatzhalter 6">
            <a:extLst>
              <a:ext uri="{FF2B5EF4-FFF2-40B4-BE49-F238E27FC236}">
                <a16:creationId xmlns:a16="http://schemas.microsoft.com/office/drawing/2014/main" id="{8516FB8D-C893-3F16-CE3D-09DFCD46BC6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255498" y="1564603"/>
            <a:ext cx="1769678" cy="2038304"/>
          </a:xfrm>
        </p:spPr>
        <p:txBody>
          <a:bodyPr/>
          <a:lstStyle/>
          <a:p>
            <a:endParaRPr lang="de-CH"/>
          </a:p>
        </p:txBody>
      </p:sp>
      <p:sp>
        <p:nvSpPr>
          <p:cNvPr id="50" name="Bildplatzhalter 6">
            <a:extLst>
              <a:ext uri="{FF2B5EF4-FFF2-40B4-BE49-F238E27FC236}">
                <a16:creationId xmlns:a16="http://schemas.microsoft.com/office/drawing/2014/main" id="{B08229A4-B2B7-B559-47D3-BDBAA7C11AAB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10115176" y="1564603"/>
            <a:ext cx="1769678" cy="2038304"/>
          </a:xfrm>
        </p:spPr>
        <p:txBody>
          <a:bodyPr/>
          <a:lstStyle/>
          <a:p>
            <a:endParaRPr lang="de-CH"/>
          </a:p>
        </p:txBody>
      </p:sp>
      <p:sp>
        <p:nvSpPr>
          <p:cNvPr id="51" name="Bildplatzhalter 6">
            <a:extLst>
              <a:ext uri="{FF2B5EF4-FFF2-40B4-BE49-F238E27FC236}">
                <a16:creationId xmlns:a16="http://schemas.microsoft.com/office/drawing/2014/main" id="{B5156C12-6731-868B-19D7-C6D24C6400B5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511626" y="323672"/>
            <a:ext cx="2141615" cy="1150931"/>
          </a:xfrm>
        </p:spPr>
        <p:txBody>
          <a:bodyPr/>
          <a:lstStyle/>
          <a:p>
            <a:endParaRPr lang="de-CH"/>
          </a:p>
        </p:txBody>
      </p:sp>
      <p:sp>
        <p:nvSpPr>
          <p:cNvPr id="53" name="Bildplatzhalter 6">
            <a:extLst>
              <a:ext uri="{FF2B5EF4-FFF2-40B4-BE49-F238E27FC236}">
                <a16:creationId xmlns:a16="http://schemas.microsoft.com/office/drawing/2014/main" id="{C7A1A0BB-537F-AA3A-E9CB-5370BF03BD94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743242" y="323672"/>
            <a:ext cx="1025807" cy="1150931"/>
          </a:xfrm>
        </p:spPr>
        <p:txBody>
          <a:bodyPr/>
          <a:lstStyle/>
          <a:p>
            <a:endParaRPr lang="de-CH"/>
          </a:p>
        </p:txBody>
      </p:sp>
      <p:sp>
        <p:nvSpPr>
          <p:cNvPr id="54" name="Bildplatzhalter 6">
            <a:extLst>
              <a:ext uri="{FF2B5EF4-FFF2-40B4-BE49-F238E27FC236}">
                <a16:creationId xmlns:a16="http://schemas.microsoft.com/office/drawing/2014/main" id="{491EF4FE-4073-9A31-31E5-5A63FBE39D18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0859048" y="323672"/>
            <a:ext cx="1025807" cy="1150931"/>
          </a:xfrm>
        </p:spPr>
        <p:txBody>
          <a:bodyPr/>
          <a:lstStyle/>
          <a:p>
            <a:endParaRPr lang="de-CH"/>
          </a:p>
        </p:txBody>
      </p:sp>
      <p:sp>
        <p:nvSpPr>
          <p:cNvPr id="55" name="Bildplatzhalter 6">
            <a:extLst>
              <a:ext uri="{FF2B5EF4-FFF2-40B4-BE49-F238E27FC236}">
                <a16:creationId xmlns:a16="http://schemas.microsoft.com/office/drawing/2014/main" id="{9A08401D-1C9E-E896-7DB5-52A3389D1C2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9584982" y="4857963"/>
            <a:ext cx="916752" cy="696470"/>
          </a:xfrm>
        </p:spPr>
        <p:txBody>
          <a:bodyPr/>
          <a:lstStyle/>
          <a:p>
            <a:endParaRPr lang="de-CH"/>
          </a:p>
        </p:txBody>
      </p:sp>
      <p:sp>
        <p:nvSpPr>
          <p:cNvPr id="56" name="Bildplatzhalter 6">
            <a:extLst>
              <a:ext uri="{FF2B5EF4-FFF2-40B4-BE49-F238E27FC236}">
                <a16:creationId xmlns:a16="http://schemas.microsoft.com/office/drawing/2014/main" id="{702C346D-32A1-4414-87C7-119C4B42949A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10591735" y="4857963"/>
            <a:ext cx="1293122" cy="696470"/>
          </a:xfrm>
        </p:spPr>
        <p:txBody>
          <a:bodyPr/>
          <a:lstStyle/>
          <a:p>
            <a:endParaRPr lang="de-CH"/>
          </a:p>
        </p:txBody>
      </p:sp>
      <p:sp>
        <p:nvSpPr>
          <p:cNvPr id="63" name="Bildplatzhalter 6">
            <a:extLst>
              <a:ext uri="{FF2B5EF4-FFF2-40B4-BE49-F238E27FC236}">
                <a16:creationId xmlns:a16="http://schemas.microsoft.com/office/drawing/2014/main" id="{4E3F5442-4550-61CA-CE15-FA539EC1B131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6395820" y="2628755"/>
            <a:ext cx="1769678" cy="974152"/>
          </a:xfrm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963577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8559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5016600" cy="1080656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05D378F-E0F1-6402-9CDA-98F867F294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9400" y="1588656"/>
            <a:ext cx="5016600" cy="458830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5pPr>
              <a:defRPr/>
            </a:lvl5pPr>
            <a:lvl6pPr marL="360000" indent="-180000">
              <a:spcBef>
                <a:spcPts val="300"/>
              </a:spcBef>
              <a:buFont typeface="Symbol" panose="05050102010706020507" pitchFamily="18" charset="2"/>
              <a:buChar char="-"/>
              <a:defRPr sz="1400"/>
            </a:lvl6pPr>
            <a:lvl7pPr marL="216000" indent="-216000">
              <a:spcBef>
                <a:spcPts val="1800"/>
              </a:spcBef>
              <a:buFont typeface="Arial" panose="020B0604020202020204" pitchFamily="34" charset="0"/>
              <a:buChar char="•"/>
              <a:defRPr/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308848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334BC1DD-CBD8-0F3D-8BCD-4DB9F2D42EA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8482"/>
            <a:ext cx="6096000" cy="308848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8629008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8559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5016600" cy="1080656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05D378F-E0F1-6402-9CDA-98F867F294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9400" y="1588656"/>
            <a:ext cx="5016600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308848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A3425794-49E8-B9BB-B513-61F4A128EB4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3088482"/>
            <a:ext cx="3048000" cy="308848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6E4E7886-214B-68B2-0407-146D4692810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4000" y="3088482"/>
            <a:ext cx="3048000" cy="308848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3" name="Textplatzhalter 21">
            <a:extLst>
              <a:ext uri="{FF2B5EF4-FFF2-40B4-BE49-F238E27FC236}">
                <a16:creationId xmlns:a16="http://schemas.microsoft.com/office/drawing/2014/main" id="{FCF2FA91-7958-5123-871D-86843135C3A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2764482"/>
            <a:ext cx="1252900" cy="324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6pPr>
            <a:lvl7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7pPr>
            <a:lvl8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none" spc="0" baseline="0">
                <a:solidFill>
                  <a:schemeClr val="bg1"/>
                </a:solidFill>
                <a:latin typeface="+mn-lt"/>
              </a:defRPr>
            </a:lvl8pPr>
            <a:lvl9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spc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4" name="Textplatzhalter 21">
            <a:extLst>
              <a:ext uri="{FF2B5EF4-FFF2-40B4-BE49-F238E27FC236}">
                <a16:creationId xmlns:a16="http://schemas.microsoft.com/office/drawing/2014/main" id="{AEF9E182-85E0-C3B9-05F9-22B428E3BEB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44000" y="5852964"/>
            <a:ext cx="1252900" cy="324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6pPr>
            <a:lvl7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7pPr>
            <a:lvl8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none" spc="0" baseline="0">
                <a:solidFill>
                  <a:schemeClr val="bg1"/>
                </a:solidFill>
                <a:latin typeface="+mn-lt"/>
              </a:defRPr>
            </a:lvl8pPr>
            <a:lvl9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spc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5" name="Textplatzhalter 21">
            <a:extLst>
              <a:ext uri="{FF2B5EF4-FFF2-40B4-BE49-F238E27FC236}">
                <a16:creationId xmlns:a16="http://schemas.microsoft.com/office/drawing/2014/main" id="{7BE35BC1-57C7-4BD3-8FDC-E0A5BB0992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6000" y="5852964"/>
            <a:ext cx="1252900" cy="324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6pPr>
            <a:lvl7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7pPr>
            <a:lvl8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none" spc="0" baseline="0">
                <a:solidFill>
                  <a:schemeClr val="bg1"/>
                </a:solidFill>
                <a:latin typeface="+mn-lt"/>
              </a:defRPr>
            </a:lvl8pPr>
            <a:lvl9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spc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84867104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158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56ABDA6A-A098-817B-4EBD-CFC52D884103}"/>
              </a:ext>
            </a:extLst>
          </p:cNvPr>
          <p:cNvSpPr/>
          <p:nvPr userDrawn="1"/>
        </p:nvSpPr>
        <p:spPr>
          <a:xfrm>
            <a:off x="6095998" y="0"/>
            <a:ext cx="6096001" cy="6176964"/>
          </a:xfrm>
          <a:custGeom>
            <a:avLst/>
            <a:gdLst>
              <a:gd name="connsiteX0" fmla="*/ 719400 w 12192000"/>
              <a:gd name="connsiteY0" fmla="*/ 1185290 h 6176964"/>
              <a:gd name="connsiteX1" fmla="*/ 719400 w 12192000"/>
              <a:gd name="connsiteY1" fmla="*/ 1250090 h 6176964"/>
              <a:gd name="connsiteX2" fmla="*/ 2699400 w 12192000"/>
              <a:gd name="connsiteY2" fmla="*/ 1250090 h 6176964"/>
              <a:gd name="connsiteX3" fmla="*/ 2699400 w 12192000"/>
              <a:gd name="connsiteY3" fmla="*/ 1185290 h 6176964"/>
              <a:gd name="connsiteX4" fmla="*/ 0 w 12192000"/>
              <a:gd name="connsiteY4" fmla="*/ 0 h 6176964"/>
              <a:gd name="connsiteX5" fmla="*/ 12192000 w 12192000"/>
              <a:gd name="connsiteY5" fmla="*/ 0 h 6176964"/>
              <a:gd name="connsiteX6" fmla="*/ 12192000 w 12192000"/>
              <a:gd name="connsiteY6" fmla="*/ 6176964 h 6176964"/>
              <a:gd name="connsiteX7" fmla="*/ 0 w 12192000"/>
              <a:gd name="connsiteY7" fmla="*/ 6176964 h 6176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176964">
                <a:moveTo>
                  <a:pt x="719400" y="1185290"/>
                </a:moveTo>
                <a:lnTo>
                  <a:pt x="719400" y="1250090"/>
                </a:lnTo>
                <a:lnTo>
                  <a:pt x="2699400" y="1250090"/>
                </a:lnTo>
                <a:lnTo>
                  <a:pt x="2699400" y="118529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176964"/>
                </a:lnTo>
                <a:lnTo>
                  <a:pt x="0" y="6176964"/>
                </a:lnTo>
                <a:close/>
              </a:path>
            </a:pathLst>
          </a:custGeom>
          <a:gradFill>
            <a:gsLst>
              <a:gs pos="73441">
                <a:srgbClr val="006B99"/>
              </a:gs>
              <a:gs pos="31900">
                <a:srgbClr val="00579A"/>
              </a:gs>
              <a:gs pos="0">
                <a:srgbClr val="00499A"/>
              </a:gs>
              <a:gs pos="100000">
                <a:srgbClr val="007B9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5016600" cy="1080656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05D378F-E0F1-6402-9CDA-98F867F294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9400" y="1588656"/>
            <a:ext cx="5016600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3A83C84B-378F-4865-C610-0B22CC88E1C3}"/>
              </a:ext>
            </a:extLst>
          </p:cNvPr>
          <p:cNvSpPr/>
          <p:nvPr userDrawn="1"/>
        </p:nvSpPr>
        <p:spPr>
          <a:xfrm>
            <a:off x="6096000" y="0"/>
            <a:ext cx="6096000" cy="6176964"/>
          </a:xfrm>
          <a:prstGeom prst="rect">
            <a:avLst/>
          </a:prstGeom>
          <a:gradFill>
            <a:gsLst>
              <a:gs pos="73441">
                <a:srgbClr val="006B99"/>
              </a:gs>
              <a:gs pos="31900">
                <a:srgbClr val="00579A"/>
              </a:gs>
              <a:gs pos="0">
                <a:srgbClr val="00499A"/>
              </a:gs>
              <a:gs pos="100000">
                <a:srgbClr val="007B9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783708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0BA5F04-FFDA-E53F-9908-8C760547CB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5170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30BA5F04-FFDA-E53F-9908-8C760547CB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Medienplatzhalter 8">
            <a:extLst>
              <a:ext uri="{FF2B5EF4-FFF2-40B4-BE49-F238E27FC236}">
                <a16:creationId xmlns:a16="http://schemas.microsoft.com/office/drawing/2014/main" id="{8F8F0A20-182E-6520-6DB6-DD2A645B8057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804363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8154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7696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56000" y="0"/>
            <a:ext cx="5016600" cy="1080656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05D378F-E0F1-6402-9CDA-98F867F294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56000" y="1588656"/>
            <a:ext cx="5016600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3FC0E45A-0F18-0582-C2E9-0C21DC7FE0FD}"/>
              </a:ext>
            </a:extLst>
          </p:cNvPr>
          <p:cNvSpPr/>
          <p:nvPr userDrawn="1"/>
        </p:nvSpPr>
        <p:spPr>
          <a:xfrm>
            <a:off x="6456000" y="1185290"/>
            <a:ext cx="1980000" cy="64800"/>
          </a:xfrm>
          <a:prstGeom prst="rect">
            <a:avLst/>
          </a:prstGeom>
          <a:solidFill>
            <a:srgbClr val="004A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7823030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9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6601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5998" y="179998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D37751CA-77A6-2816-A3E2-93047BF28A0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91998" y="179998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9DADCBC3-C4C8-4C7C-E440-FCBC7D92786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107996" y="179998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6BD2E061-D825-99CE-4EA9-C819ECAD6CD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75998" y="2182986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0C197267-6BA2-F330-99F8-F4F031C1370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91997" y="2182986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6A1B78EA-2DC5-6F73-0235-7F17EEFED34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107997" y="2182986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9" name="Bildplatzhalter 6">
            <a:extLst>
              <a:ext uri="{FF2B5EF4-FFF2-40B4-BE49-F238E27FC236}">
                <a16:creationId xmlns:a16="http://schemas.microsoft.com/office/drawing/2014/main" id="{C2B28397-A39D-7D39-A455-B77BD6217F5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75998" y="4185974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0" name="Bildplatzhalter 6">
            <a:extLst>
              <a:ext uri="{FF2B5EF4-FFF2-40B4-BE49-F238E27FC236}">
                <a16:creationId xmlns:a16="http://schemas.microsoft.com/office/drawing/2014/main" id="{3FF7C958-FC28-ABB8-12CA-FAD825F5E6F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91998" y="4185974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886BE4BA-199F-50CA-F922-EFC0D01F83D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0107996" y="4185974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399" y="180000"/>
            <a:ext cx="5196600" cy="900656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24" name="Textplatzhalter 21">
            <a:extLst>
              <a:ext uri="{FF2B5EF4-FFF2-40B4-BE49-F238E27FC236}">
                <a16:creationId xmlns:a16="http://schemas.microsoft.com/office/drawing/2014/main" id="{435A29B7-90DD-A2D4-234A-7101683E518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903997" y="1894986"/>
            <a:ext cx="216000" cy="216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5" name="Textplatzhalter 21">
            <a:extLst>
              <a:ext uri="{FF2B5EF4-FFF2-40B4-BE49-F238E27FC236}">
                <a16:creationId xmlns:a16="http://schemas.microsoft.com/office/drawing/2014/main" id="{FB729990-18F7-7574-29E6-4905AAC683C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819997" y="1894986"/>
            <a:ext cx="216000" cy="216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6" name="Textplatzhalter 21">
            <a:extLst>
              <a:ext uri="{FF2B5EF4-FFF2-40B4-BE49-F238E27FC236}">
                <a16:creationId xmlns:a16="http://schemas.microsoft.com/office/drawing/2014/main" id="{D105281E-8EB0-583E-4D69-5F6E046C3F0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735996" y="1894986"/>
            <a:ext cx="216000" cy="216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7" name="Textplatzhalter 21">
            <a:extLst>
              <a:ext uri="{FF2B5EF4-FFF2-40B4-BE49-F238E27FC236}">
                <a16:creationId xmlns:a16="http://schemas.microsoft.com/office/drawing/2014/main" id="{C83565C1-5285-E94A-60DD-16E3A675CF8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903997" y="3897974"/>
            <a:ext cx="216000" cy="216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8" name="Textplatzhalter 21">
            <a:extLst>
              <a:ext uri="{FF2B5EF4-FFF2-40B4-BE49-F238E27FC236}">
                <a16:creationId xmlns:a16="http://schemas.microsoft.com/office/drawing/2014/main" id="{131992C7-DC63-3A14-FE03-D483D8DCFAF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819997" y="3897974"/>
            <a:ext cx="216000" cy="216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9" name="Textplatzhalter 21">
            <a:extLst>
              <a:ext uri="{FF2B5EF4-FFF2-40B4-BE49-F238E27FC236}">
                <a16:creationId xmlns:a16="http://schemas.microsoft.com/office/drawing/2014/main" id="{1674CAD0-681F-7033-B6B6-7E310E1757F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735996" y="3897974"/>
            <a:ext cx="216000" cy="216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30" name="Textplatzhalter 21">
            <a:extLst>
              <a:ext uri="{FF2B5EF4-FFF2-40B4-BE49-F238E27FC236}">
                <a16:creationId xmlns:a16="http://schemas.microsoft.com/office/drawing/2014/main" id="{149FE609-B663-F204-000F-C09916E86AD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903997" y="5900962"/>
            <a:ext cx="216000" cy="216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31" name="Textplatzhalter 21">
            <a:extLst>
              <a:ext uri="{FF2B5EF4-FFF2-40B4-BE49-F238E27FC236}">
                <a16:creationId xmlns:a16="http://schemas.microsoft.com/office/drawing/2014/main" id="{67C59675-1AFB-5CE8-293E-E932233130C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819997" y="5900962"/>
            <a:ext cx="216000" cy="216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32" name="Textplatzhalter 21">
            <a:extLst>
              <a:ext uri="{FF2B5EF4-FFF2-40B4-BE49-F238E27FC236}">
                <a16:creationId xmlns:a16="http://schemas.microsoft.com/office/drawing/2014/main" id="{D906EE30-5A9F-6097-733F-43BFF9E2D19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1735996" y="5900962"/>
            <a:ext cx="216000" cy="216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77027837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9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6601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5998" y="179998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D37751CA-77A6-2816-A3E2-93047BF28A0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91998" y="179998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9DADCBC3-C4C8-4C7C-E440-FCBC7D92786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107996" y="179998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6BD2E061-D825-99CE-4EA9-C819ECAD6CD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75998" y="2182986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0C197267-6BA2-F330-99F8-F4F031C1370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191997" y="2182986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8" name="Bildplatzhalter 6">
            <a:extLst>
              <a:ext uri="{FF2B5EF4-FFF2-40B4-BE49-F238E27FC236}">
                <a16:creationId xmlns:a16="http://schemas.microsoft.com/office/drawing/2014/main" id="{6A1B78EA-2DC5-6F73-0235-7F17EEFED34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107997" y="2182986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9" name="Bildplatzhalter 6">
            <a:extLst>
              <a:ext uri="{FF2B5EF4-FFF2-40B4-BE49-F238E27FC236}">
                <a16:creationId xmlns:a16="http://schemas.microsoft.com/office/drawing/2014/main" id="{C2B28397-A39D-7D39-A455-B77BD6217F5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75998" y="4185974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0" name="Bildplatzhalter 6">
            <a:extLst>
              <a:ext uri="{FF2B5EF4-FFF2-40B4-BE49-F238E27FC236}">
                <a16:creationId xmlns:a16="http://schemas.microsoft.com/office/drawing/2014/main" id="{3FF7C958-FC28-ABB8-12CA-FAD825F5E6F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91998" y="4185974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886BE4BA-199F-50CA-F922-EFC0D01F83D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0107996" y="4185974"/>
            <a:ext cx="1844000" cy="193098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399" y="180000"/>
            <a:ext cx="5196600" cy="900656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24" name="Textplatzhalter 21">
            <a:extLst>
              <a:ext uri="{FF2B5EF4-FFF2-40B4-BE49-F238E27FC236}">
                <a16:creationId xmlns:a16="http://schemas.microsoft.com/office/drawing/2014/main" id="{435A29B7-90DD-A2D4-234A-7101683E518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931999" y="1858986"/>
            <a:ext cx="1188000" cy="252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5" name="Textplatzhalter 21">
            <a:extLst>
              <a:ext uri="{FF2B5EF4-FFF2-40B4-BE49-F238E27FC236}">
                <a16:creationId xmlns:a16="http://schemas.microsoft.com/office/drawing/2014/main" id="{FB729990-18F7-7574-29E6-4905AAC683C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847997" y="1858986"/>
            <a:ext cx="1188000" cy="252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6" name="Textplatzhalter 21">
            <a:extLst>
              <a:ext uri="{FF2B5EF4-FFF2-40B4-BE49-F238E27FC236}">
                <a16:creationId xmlns:a16="http://schemas.microsoft.com/office/drawing/2014/main" id="{D105281E-8EB0-583E-4D69-5F6E046C3F0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763996" y="1858986"/>
            <a:ext cx="1188000" cy="252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7" name="Textplatzhalter 21">
            <a:extLst>
              <a:ext uri="{FF2B5EF4-FFF2-40B4-BE49-F238E27FC236}">
                <a16:creationId xmlns:a16="http://schemas.microsoft.com/office/drawing/2014/main" id="{C83565C1-5285-E94A-60DD-16E3A675CF8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931997" y="3861974"/>
            <a:ext cx="1188000" cy="252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8" name="Textplatzhalter 21">
            <a:extLst>
              <a:ext uri="{FF2B5EF4-FFF2-40B4-BE49-F238E27FC236}">
                <a16:creationId xmlns:a16="http://schemas.microsoft.com/office/drawing/2014/main" id="{131992C7-DC63-3A14-FE03-D483D8DCFAF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847997" y="3861974"/>
            <a:ext cx="1188000" cy="252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9" name="Textplatzhalter 21">
            <a:extLst>
              <a:ext uri="{FF2B5EF4-FFF2-40B4-BE49-F238E27FC236}">
                <a16:creationId xmlns:a16="http://schemas.microsoft.com/office/drawing/2014/main" id="{1674CAD0-681F-7033-B6B6-7E310E1757F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0763996" y="3861974"/>
            <a:ext cx="1188000" cy="252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30" name="Textplatzhalter 21">
            <a:extLst>
              <a:ext uri="{FF2B5EF4-FFF2-40B4-BE49-F238E27FC236}">
                <a16:creationId xmlns:a16="http://schemas.microsoft.com/office/drawing/2014/main" id="{149FE609-B663-F204-000F-C09916E86AD6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31997" y="5864962"/>
            <a:ext cx="1188000" cy="252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31" name="Textplatzhalter 21">
            <a:extLst>
              <a:ext uri="{FF2B5EF4-FFF2-40B4-BE49-F238E27FC236}">
                <a16:creationId xmlns:a16="http://schemas.microsoft.com/office/drawing/2014/main" id="{67C59675-1AFB-5CE8-293E-E932233130C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47997" y="5864962"/>
            <a:ext cx="1188000" cy="252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32" name="Textplatzhalter 21">
            <a:extLst>
              <a:ext uri="{FF2B5EF4-FFF2-40B4-BE49-F238E27FC236}">
                <a16:creationId xmlns:a16="http://schemas.microsoft.com/office/drawing/2014/main" id="{D906EE30-5A9F-6097-733F-43BFF9E2D19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0763996" y="5864962"/>
            <a:ext cx="1188000" cy="252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200" b="1" spc="0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200" b="1" spc="0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cap="none" spc="0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 spc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43923744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1588656"/>
            <a:ext cx="3344400" cy="458830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3BF2161A-1D67-0864-E091-399EA2349EA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423800" y="1588656"/>
            <a:ext cx="3344400" cy="458830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1DD3B35-DC6D-F9CC-A8C3-ECA856B9ABD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28201" y="1588656"/>
            <a:ext cx="3344400" cy="4588308"/>
          </a:xfrm>
        </p:spPr>
        <p:txBody>
          <a:bodyPr/>
          <a:lstStyle>
            <a:lvl5pPr>
              <a:defRPr/>
            </a:lvl5pPr>
            <a:lvl6pPr>
              <a:defRPr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</a:t>
            </a:r>
          </a:p>
          <a:p>
            <a:pPr lvl="6"/>
            <a:r>
              <a:rPr lang="de-DE"/>
              <a:t>Siebte</a:t>
            </a:r>
          </a:p>
          <a:p>
            <a:pPr lvl="7"/>
            <a:r>
              <a:rPr lang="de-DE"/>
              <a:t>Achte</a:t>
            </a:r>
          </a:p>
          <a:p>
            <a:pPr lvl="8"/>
            <a:r>
              <a:rPr lang="de-DE"/>
              <a:t>Neunte</a:t>
            </a:r>
          </a:p>
          <a:p>
            <a:pPr lvl="5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5963737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1588656"/>
            <a:ext cx="2418300" cy="211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4F0F21B9-64AF-633E-8130-D4995B5BD5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497700" y="1588656"/>
            <a:ext cx="2418300" cy="211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1FB61E3F-5E2E-4C78-712D-C76998CD056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76000" y="1588656"/>
            <a:ext cx="2418300" cy="211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7841893D-BB8E-7668-A0A2-9276F7ED6DE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054300" y="1588656"/>
            <a:ext cx="2418300" cy="211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0710F704-F0C7-20AD-79A2-0C3E0A62A37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19400" y="4062810"/>
            <a:ext cx="2418300" cy="211415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7" name="Textplatzhalter 14">
            <a:extLst>
              <a:ext uri="{FF2B5EF4-FFF2-40B4-BE49-F238E27FC236}">
                <a16:creationId xmlns:a16="http://schemas.microsoft.com/office/drawing/2014/main" id="{0569FE23-9EEC-1B58-1278-0874641648C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497700" y="4062810"/>
            <a:ext cx="2418300" cy="211415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4">
            <a:extLst>
              <a:ext uri="{FF2B5EF4-FFF2-40B4-BE49-F238E27FC236}">
                <a16:creationId xmlns:a16="http://schemas.microsoft.com/office/drawing/2014/main" id="{B341914A-3459-0005-FFB1-0DBEE2F9D06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76000" y="4062810"/>
            <a:ext cx="2418300" cy="211415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9" name="Textplatzhalter 14">
            <a:extLst>
              <a:ext uri="{FF2B5EF4-FFF2-40B4-BE49-F238E27FC236}">
                <a16:creationId xmlns:a16="http://schemas.microsoft.com/office/drawing/2014/main" id="{AAD9735B-1483-FC6A-17F2-222D6BE5053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54300" y="4062810"/>
            <a:ext cx="2418300" cy="211415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206060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2259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A65709-8141-ABAA-A230-327EB45438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C70E5E-E921-12AC-50FA-1CF1D146B5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7D69E9-8798-C849-BAD2-446E4866B9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1075414-9429-3974-EF8C-4E7BA73D76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445339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9_Nur Tite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70930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A65709-8141-ABAA-A230-327EB45438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040599F1-7948-82E5-F9C4-847CFD9C69C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48441" y="6324952"/>
            <a:ext cx="725116" cy="377823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DB4F5FD9-6E60-1180-8DE9-41DDBC293EDF}"/>
              </a:ext>
            </a:extLst>
          </p:cNvPr>
          <p:cNvSpPr/>
          <p:nvPr userDrawn="1"/>
        </p:nvSpPr>
        <p:spPr>
          <a:xfrm>
            <a:off x="719400" y="1185290"/>
            <a:ext cx="1980000" cy="6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157906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8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503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reihandform: Form 7">
            <a:extLst>
              <a:ext uri="{FF2B5EF4-FFF2-40B4-BE49-F238E27FC236}">
                <a16:creationId xmlns:a16="http://schemas.microsoft.com/office/drawing/2014/main" id="{F739FF33-8F20-94A6-C925-699A0EB1D73E}"/>
              </a:ext>
            </a:extLst>
          </p:cNvPr>
          <p:cNvSpPr/>
          <p:nvPr userDrawn="1"/>
        </p:nvSpPr>
        <p:spPr>
          <a:xfrm>
            <a:off x="0" y="0"/>
            <a:ext cx="12192000" cy="6176964"/>
          </a:xfrm>
          <a:custGeom>
            <a:avLst/>
            <a:gdLst>
              <a:gd name="connsiteX0" fmla="*/ 719400 w 12192000"/>
              <a:gd name="connsiteY0" fmla="*/ 1185290 h 6176964"/>
              <a:gd name="connsiteX1" fmla="*/ 719400 w 12192000"/>
              <a:gd name="connsiteY1" fmla="*/ 1250090 h 6176964"/>
              <a:gd name="connsiteX2" fmla="*/ 2699400 w 12192000"/>
              <a:gd name="connsiteY2" fmla="*/ 1250090 h 6176964"/>
              <a:gd name="connsiteX3" fmla="*/ 2699400 w 12192000"/>
              <a:gd name="connsiteY3" fmla="*/ 1185290 h 6176964"/>
              <a:gd name="connsiteX4" fmla="*/ 0 w 12192000"/>
              <a:gd name="connsiteY4" fmla="*/ 0 h 6176964"/>
              <a:gd name="connsiteX5" fmla="*/ 12192000 w 12192000"/>
              <a:gd name="connsiteY5" fmla="*/ 0 h 6176964"/>
              <a:gd name="connsiteX6" fmla="*/ 12192000 w 12192000"/>
              <a:gd name="connsiteY6" fmla="*/ 6176964 h 6176964"/>
              <a:gd name="connsiteX7" fmla="*/ 0 w 12192000"/>
              <a:gd name="connsiteY7" fmla="*/ 6176964 h 6176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176964">
                <a:moveTo>
                  <a:pt x="719400" y="1185290"/>
                </a:moveTo>
                <a:lnTo>
                  <a:pt x="719400" y="1250090"/>
                </a:lnTo>
                <a:lnTo>
                  <a:pt x="2699400" y="1250090"/>
                </a:lnTo>
                <a:lnTo>
                  <a:pt x="2699400" y="118529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176964"/>
                </a:lnTo>
                <a:lnTo>
                  <a:pt x="0" y="6176964"/>
                </a:lnTo>
                <a:close/>
              </a:path>
            </a:pathLst>
          </a:custGeom>
          <a:gradFill>
            <a:gsLst>
              <a:gs pos="73441">
                <a:srgbClr val="006B99"/>
              </a:gs>
              <a:gs pos="31900">
                <a:srgbClr val="00579A"/>
              </a:gs>
              <a:gs pos="0">
                <a:srgbClr val="00499A"/>
              </a:gs>
              <a:gs pos="100000">
                <a:srgbClr val="007B98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DA65709-8141-ABAA-A230-327EB45438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C70E5E-E921-12AC-50FA-1CF1D146B5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7D69E9-8798-C849-BAD2-446E4866B9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1075414-9429-3974-EF8C-4E7BA73D76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pic>
        <p:nvPicPr>
          <p:cNvPr id="11" name="Picture 6" descr="Logo&#10;&#10;Description automatically generated">
            <a:extLst>
              <a:ext uri="{FF2B5EF4-FFF2-40B4-BE49-F238E27FC236}">
                <a16:creationId xmlns:a16="http://schemas.microsoft.com/office/drawing/2014/main" id="{C5DB168C-6CAB-FDD0-2F8A-273A8B40D6C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10748441" y="6324952"/>
            <a:ext cx="724160" cy="377823"/>
          </a:xfrm>
          <a:prstGeom prst="rect">
            <a:avLst/>
          </a:prstGeom>
        </p:spPr>
      </p:pic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63AFE5C1-10D1-A044-CBAA-9E5959B65691}"/>
              </a:ext>
            </a:extLst>
          </p:cNvPr>
          <p:cNvCxnSpPr/>
          <p:nvPr userDrawn="1"/>
        </p:nvCxnSpPr>
        <p:spPr>
          <a:xfrm>
            <a:off x="6096000" y="6558344"/>
            <a:ext cx="0" cy="197042"/>
          </a:xfrm>
          <a:prstGeom prst="line">
            <a:avLst/>
          </a:prstGeom>
          <a:ln w="19050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472606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2259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A65709-8141-ABAA-A230-327EB45438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C70E5E-E921-12AC-50FA-1CF1D146B5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7D69E9-8798-C849-BAD2-446E4866B9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1075414-9429-3974-EF8C-4E7BA73D76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E6CC737-E0BB-1F6E-AEA3-594F69068E8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93813" y="2208213"/>
            <a:ext cx="2520950" cy="2520950"/>
          </a:xfrm>
          <a:prstGeom prst="ellipse">
            <a:avLst/>
          </a:prstGeom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70670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342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Bildplatzhalter 7">
            <a:extLst>
              <a:ext uri="{FF2B5EF4-FFF2-40B4-BE49-F238E27FC236}">
                <a16:creationId xmlns:a16="http://schemas.microsoft.com/office/drawing/2014/main" id="{A9FBE15C-7B54-ED2F-BCBF-0B14E31D71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423200" y="0"/>
            <a:ext cx="4768800" cy="333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DD4EF2ED-35D5-7DA6-08F1-FF3E736B36B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2432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0" name="Bildplatzhalter 7">
            <a:extLst>
              <a:ext uri="{FF2B5EF4-FFF2-40B4-BE49-F238E27FC236}">
                <a16:creationId xmlns:a16="http://schemas.microsoft.com/office/drawing/2014/main" id="{F6C4FD13-A04F-A723-F557-D669197A9AF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423200" y="3519000"/>
            <a:ext cx="4768800" cy="333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9" name="Textplatzhalter 21">
            <a:extLst>
              <a:ext uri="{FF2B5EF4-FFF2-40B4-BE49-F238E27FC236}">
                <a16:creationId xmlns:a16="http://schemas.microsoft.com/office/drawing/2014/main" id="{87BB9C5A-DA6C-ACE1-91D6-F9455258B2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803200" y="6498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0" name="Textplatzhalter 21">
            <a:extLst>
              <a:ext uri="{FF2B5EF4-FFF2-40B4-BE49-F238E27FC236}">
                <a16:creationId xmlns:a16="http://schemas.microsoft.com/office/drawing/2014/main" id="{9B9669DA-CD6F-141B-2646-C514BAF0C23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752001" y="2979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1" name="Textplatzhalter 21">
            <a:extLst>
              <a:ext uri="{FF2B5EF4-FFF2-40B4-BE49-F238E27FC236}">
                <a16:creationId xmlns:a16="http://schemas.microsoft.com/office/drawing/2014/main" id="{94199FAA-A59E-6952-ED63-DDF4C7A6ABA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752001" y="6498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3921998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AE52EC-321F-C3A7-4607-6D9E10A1FB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905706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+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4342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Bildplatzhalter 7">
            <a:extLst>
              <a:ext uri="{FF2B5EF4-FFF2-40B4-BE49-F238E27FC236}">
                <a16:creationId xmlns:a16="http://schemas.microsoft.com/office/drawing/2014/main" id="{A9FBE15C-7B54-ED2F-BCBF-0B14E31D71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423200" y="0"/>
            <a:ext cx="4768800" cy="333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F3421B65-75D9-E551-7206-80402C4B038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7243200" cy="6858000"/>
          </a:xfrm>
          <a:custGeom>
            <a:avLst/>
            <a:gdLst>
              <a:gd name="connsiteX0" fmla="*/ 719400 w 7243200"/>
              <a:gd name="connsiteY0" fmla="*/ 1185290 h 6858000"/>
              <a:gd name="connsiteX1" fmla="*/ 719400 w 7243200"/>
              <a:gd name="connsiteY1" fmla="*/ 1250090 h 6858000"/>
              <a:gd name="connsiteX2" fmla="*/ 2699400 w 7243200"/>
              <a:gd name="connsiteY2" fmla="*/ 1250090 h 6858000"/>
              <a:gd name="connsiteX3" fmla="*/ 2699400 w 7243200"/>
              <a:gd name="connsiteY3" fmla="*/ 1185290 h 6858000"/>
              <a:gd name="connsiteX4" fmla="*/ 0 w 7243200"/>
              <a:gd name="connsiteY4" fmla="*/ 0 h 6858000"/>
              <a:gd name="connsiteX5" fmla="*/ 7243200 w 7243200"/>
              <a:gd name="connsiteY5" fmla="*/ 0 h 6858000"/>
              <a:gd name="connsiteX6" fmla="*/ 7243200 w 7243200"/>
              <a:gd name="connsiteY6" fmla="*/ 6858000 h 6858000"/>
              <a:gd name="connsiteX7" fmla="*/ 0 w 724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43200" h="6858000">
                <a:moveTo>
                  <a:pt x="719400" y="1185290"/>
                </a:moveTo>
                <a:lnTo>
                  <a:pt x="719400" y="1250090"/>
                </a:lnTo>
                <a:lnTo>
                  <a:pt x="2699400" y="1250090"/>
                </a:lnTo>
                <a:lnTo>
                  <a:pt x="2699400" y="1185290"/>
                </a:lnTo>
                <a:close/>
                <a:moveTo>
                  <a:pt x="0" y="0"/>
                </a:moveTo>
                <a:lnTo>
                  <a:pt x="7243200" y="0"/>
                </a:lnTo>
                <a:lnTo>
                  <a:pt x="7243200" y="6858000"/>
                </a:lnTo>
                <a:lnTo>
                  <a:pt x="0" y="6858000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de-CH"/>
          </a:p>
        </p:txBody>
      </p:sp>
      <p:sp>
        <p:nvSpPr>
          <p:cNvPr id="20" name="Bildplatzhalter 7">
            <a:extLst>
              <a:ext uri="{FF2B5EF4-FFF2-40B4-BE49-F238E27FC236}">
                <a16:creationId xmlns:a16="http://schemas.microsoft.com/office/drawing/2014/main" id="{F6C4FD13-A04F-A723-F557-D669197A9AF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423200" y="3519000"/>
            <a:ext cx="4768800" cy="333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9" name="Textplatzhalter 21">
            <a:extLst>
              <a:ext uri="{FF2B5EF4-FFF2-40B4-BE49-F238E27FC236}">
                <a16:creationId xmlns:a16="http://schemas.microsoft.com/office/drawing/2014/main" id="{87BB9C5A-DA6C-ACE1-91D6-F9455258B2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462813" y="6498000"/>
            <a:ext cx="780387" cy="360000"/>
          </a:xfrm>
          <a:solidFill>
            <a:schemeClr val="tx2">
              <a:alpha val="80000"/>
            </a:schemeClr>
          </a:solidFill>
        </p:spPr>
        <p:txBody>
          <a:bodyPr wrap="none" lIns="180000" tIns="180000" rIns="180000" bIns="180000"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0" name="Textplatzhalter 21">
            <a:extLst>
              <a:ext uri="{FF2B5EF4-FFF2-40B4-BE49-F238E27FC236}">
                <a16:creationId xmlns:a16="http://schemas.microsoft.com/office/drawing/2014/main" id="{9B9669DA-CD6F-141B-2646-C514BAF0C23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411612" y="2979000"/>
            <a:ext cx="780388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1" name="Textplatzhalter 21">
            <a:extLst>
              <a:ext uri="{FF2B5EF4-FFF2-40B4-BE49-F238E27FC236}">
                <a16:creationId xmlns:a16="http://schemas.microsoft.com/office/drawing/2014/main" id="{94199FAA-A59E-6952-ED63-DDF4C7A6ABA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1411611" y="6498000"/>
            <a:ext cx="780387" cy="360000"/>
          </a:xfrm>
          <a:solidFill>
            <a:schemeClr val="tx2">
              <a:alpha val="80000"/>
            </a:schemeClr>
          </a:solidFill>
        </p:spPr>
        <p:txBody>
          <a:bodyPr wrap="none" lIns="180000" tIns="180000" rIns="180000" bIns="180000" anchor="ctr">
            <a:sp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C23F135-B5E0-B2C1-EBA4-8C921B7EAE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4102351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3813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Medienplatzhalter 17">
            <a:extLst>
              <a:ext uri="{FF2B5EF4-FFF2-40B4-BE49-F238E27FC236}">
                <a16:creationId xmlns:a16="http://schemas.microsoft.com/office/drawing/2014/main" id="{5FCA3402-2169-D2E7-B728-E412D3A6935A}"/>
              </a:ext>
            </a:extLst>
          </p:cNvPr>
          <p:cNvSpPr>
            <a:spLocks noGrp="1"/>
          </p:cNvSpPr>
          <p:nvPr>
            <p:ph type="media" sz="quarter" idx="26"/>
          </p:nvPr>
        </p:nvSpPr>
        <p:spPr>
          <a:xfrm>
            <a:off x="0" y="0"/>
            <a:ext cx="7243200" cy="6858000"/>
          </a:xfrm>
          <a:custGeom>
            <a:avLst/>
            <a:gdLst>
              <a:gd name="connsiteX0" fmla="*/ 719400 w 7243200"/>
              <a:gd name="connsiteY0" fmla="*/ 1185290 h 6858000"/>
              <a:gd name="connsiteX1" fmla="*/ 719400 w 7243200"/>
              <a:gd name="connsiteY1" fmla="*/ 1250090 h 6858000"/>
              <a:gd name="connsiteX2" fmla="*/ 2699400 w 7243200"/>
              <a:gd name="connsiteY2" fmla="*/ 1250090 h 6858000"/>
              <a:gd name="connsiteX3" fmla="*/ 2699400 w 7243200"/>
              <a:gd name="connsiteY3" fmla="*/ 1185290 h 6858000"/>
              <a:gd name="connsiteX4" fmla="*/ 0 w 7243200"/>
              <a:gd name="connsiteY4" fmla="*/ 0 h 6858000"/>
              <a:gd name="connsiteX5" fmla="*/ 7243200 w 7243200"/>
              <a:gd name="connsiteY5" fmla="*/ 0 h 6858000"/>
              <a:gd name="connsiteX6" fmla="*/ 7243200 w 7243200"/>
              <a:gd name="connsiteY6" fmla="*/ 6858000 h 6858000"/>
              <a:gd name="connsiteX7" fmla="*/ 0 w 72432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43200" h="6858000">
                <a:moveTo>
                  <a:pt x="719400" y="1185290"/>
                </a:moveTo>
                <a:lnTo>
                  <a:pt x="719400" y="1250090"/>
                </a:lnTo>
                <a:lnTo>
                  <a:pt x="2699400" y="1250090"/>
                </a:lnTo>
                <a:lnTo>
                  <a:pt x="2699400" y="1185290"/>
                </a:lnTo>
                <a:close/>
                <a:moveTo>
                  <a:pt x="0" y="0"/>
                </a:moveTo>
                <a:lnTo>
                  <a:pt x="7243200" y="0"/>
                </a:lnTo>
                <a:lnTo>
                  <a:pt x="72432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/>
          <a:p>
            <a:endParaRPr lang="de-CH"/>
          </a:p>
        </p:txBody>
      </p:sp>
      <p:sp>
        <p:nvSpPr>
          <p:cNvPr id="19" name="Bildplatzhalter 7">
            <a:extLst>
              <a:ext uri="{FF2B5EF4-FFF2-40B4-BE49-F238E27FC236}">
                <a16:creationId xmlns:a16="http://schemas.microsoft.com/office/drawing/2014/main" id="{A9FBE15C-7B54-ED2F-BCBF-0B14E31D71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423200" y="0"/>
            <a:ext cx="4768800" cy="333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0" name="Bildplatzhalter 7">
            <a:extLst>
              <a:ext uri="{FF2B5EF4-FFF2-40B4-BE49-F238E27FC236}">
                <a16:creationId xmlns:a16="http://schemas.microsoft.com/office/drawing/2014/main" id="{F6C4FD13-A04F-A723-F557-D669197A9AF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423200" y="3519000"/>
            <a:ext cx="4768800" cy="333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9" name="Textplatzhalter 21">
            <a:extLst>
              <a:ext uri="{FF2B5EF4-FFF2-40B4-BE49-F238E27FC236}">
                <a16:creationId xmlns:a16="http://schemas.microsoft.com/office/drawing/2014/main" id="{87BB9C5A-DA6C-ACE1-91D6-F9455258B2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803200" y="6498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0" name="Textplatzhalter 21">
            <a:extLst>
              <a:ext uri="{FF2B5EF4-FFF2-40B4-BE49-F238E27FC236}">
                <a16:creationId xmlns:a16="http://schemas.microsoft.com/office/drawing/2014/main" id="{9B9669DA-CD6F-141B-2646-C514BAF0C23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752001" y="2979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1" name="Textplatzhalter 21">
            <a:extLst>
              <a:ext uri="{FF2B5EF4-FFF2-40B4-BE49-F238E27FC236}">
                <a16:creationId xmlns:a16="http://schemas.microsoft.com/office/drawing/2014/main" id="{94199FAA-A59E-6952-ED63-DDF4C7A6ABA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752001" y="6498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E6620D9-2122-0843-D9A4-2F9CA2A346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2595423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Video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1219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870A6F81-FBAE-4A54-5412-9A8AA3E6EF9B}"/>
              </a:ext>
            </a:extLst>
          </p:cNvPr>
          <p:cNvSpPr>
            <a:spLocks noGrp="1"/>
          </p:cNvSpPr>
          <p:nvPr>
            <p:ph type="media" sz="quarter" idx="27"/>
          </p:nvPr>
        </p:nvSpPr>
        <p:spPr>
          <a:xfrm>
            <a:off x="0" y="0"/>
            <a:ext cx="7243200" cy="6858000"/>
          </a:xfrm>
        </p:spPr>
        <p:txBody>
          <a:bodyPr/>
          <a:lstStyle/>
          <a:p>
            <a:endParaRPr lang="de-CH"/>
          </a:p>
        </p:txBody>
      </p:sp>
      <p:sp>
        <p:nvSpPr>
          <p:cNvPr id="19" name="Bildplatzhalter 7">
            <a:extLst>
              <a:ext uri="{FF2B5EF4-FFF2-40B4-BE49-F238E27FC236}">
                <a16:creationId xmlns:a16="http://schemas.microsoft.com/office/drawing/2014/main" id="{A9FBE15C-7B54-ED2F-BCBF-0B14E31D71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423200" y="0"/>
            <a:ext cx="4768800" cy="333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0" name="Bildplatzhalter 7">
            <a:extLst>
              <a:ext uri="{FF2B5EF4-FFF2-40B4-BE49-F238E27FC236}">
                <a16:creationId xmlns:a16="http://schemas.microsoft.com/office/drawing/2014/main" id="{F6C4FD13-A04F-A723-F557-D669197A9AF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423200" y="3519000"/>
            <a:ext cx="4768800" cy="333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9" name="Textplatzhalter 21">
            <a:extLst>
              <a:ext uri="{FF2B5EF4-FFF2-40B4-BE49-F238E27FC236}">
                <a16:creationId xmlns:a16="http://schemas.microsoft.com/office/drawing/2014/main" id="{87BB9C5A-DA6C-ACE1-91D6-F9455258B2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803200" y="6498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0" name="Textplatzhalter 21">
            <a:extLst>
              <a:ext uri="{FF2B5EF4-FFF2-40B4-BE49-F238E27FC236}">
                <a16:creationId xmlns:a16="http://schemas.microsoft.com/office/drawing/2014/main" id="{9B9669DA-CD6F-141B-2646-C514BAF0C23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752001" y="2979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1" name="Textplatzhalter 21">
            <a:extLst>
              <a:ext uri="{FF2B5EF4-FFF2-40B4-BE49-F238E27FC236}">
                <a16:creationId xmlns:a16="http://schemas.microsoft.com/office/drawing/2014/main" id="{94199FAA-A59E-6952-ED63-DDF4C7A6ABA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752001" y="6498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91340492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22597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A65709-8141-ABAA-A230-327EB45438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5C70E5E-E921-12AC-50FA-1CF1D146B5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97D69E9-8798-C849-BAD2-446E4866B9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61075414-9429-3974-EF8C-4E7BA73D76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6" name="Bildplatzhalter 7">
            <a:extLst>
              <a:ext uri="{FF2B5EF4-FFF2-40B4-BE49-F238E27FC236}">
                <a16:creationId xmlns:a16="http://schemas.microsoft.com/office/drawing/2014/main" id="{AAC72541-B581-2A51-A06E-1F5D1CDE586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9400" y="1397297"/>
            <a:ext cx="5376600" cy="4825703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A3CD65FF-6D56-5434-36FF-864623C1A4C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945300" y="1397298"/>
            <a:ext cx="2527300" cy="23492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9" name="Bildplatzhalter 7">
            <a:extLst>
              <a:ext uri="{FF2B5EF4-FFF2-40B4-BE49-F238E27FC236}">
                <a16:creationId xmlns:a16="http://schemas.microsoft.com/office/drawing/2014/main" id="{A7C64753-14A5-CF47-1D26-3943C2C9D74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57000" y="3873798"/>
            <a:ext cx="2527300" cy="23492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0" name="Bildplatzhalter 7">
            <a:extLst>
              <a:ext uri="{FF2B5EF4-FFF2-40B4-BE49-F238E27FC236}">
                <a16:creationId xmlns:a16="http://schemas.microsoft.com/office/drawing/2014/main" id="{CE74484C-48C5-4225-68B5-F18E8B1E49F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73800" y="1397296"/>
            <a:ext cx="2527300" cy="234920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1" name="Bildplatzhalter 7">
            <a:extLst>
              <a:ext uri="{FF2B5EF4-FFF2-40B4-BE49-F238E27FC236}">
                <a16:creationId xmlns:a16="http://schemas.microsoft.com/office/drawing/2014/main" id="{D731BA13-731F-F038-FEEC-C116A4FDA67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945300" y="3873797"/>
            <a:ext cx="2527300" cy="2349201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7606838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443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Bildplatzhalter 7">
            <a:extLst>
              <a:ext uri="{FF2B5EF4-FFF2-40B4-BE49-F238E27FC236}">
                <a16:creationId xmlns:a16="http://schemas.microsoft.com/office/drawing/2014/main" id="{A9FBE15C-7B54-ED2F-BCBF-0B14E31D71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423200" y="180000"/>
            <a:ext cx="4588800" cy="315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DD4EF2ED-35D5-7DA6-08F1-FF3E736B36B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80000" y="180000"/>
            <a:ext cx="7063200" cy="649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0" name="Bildplatzhalter 7">
            <a:extLst>
              <a:ext uri="{FF2B5EF4-FFF2-40B4-BE49-F238E27FC236}">
                <a16:creationId xmlns:a16="http://schemas.microsoft.com/office/drawing/2014/main" id="{F6C4FD13-A04F-A723-F557-D669197A9AF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423200" y="3519000"/>
            <a:ext cx="4588800" cy="3159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9" name="Textplatzhalter 21">
            <a:extLst>
              <a:ext uri="{FF2B5EF4-FFF2-40B4-BE49-F238E27FC236}">
                <a16:creationId xmlns:a16="http://schemas.microsoft.com/office/drawing/2014/main" id="{87BB9C5A-DA6C-ACE1-91D6-F9455258B2B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803200" y="6318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0" name="Textplatzhalter 21">
            <a:extLst>
              <a:ext uri="{FF2B5EF4-FFF2-40B4-BE49-F238E27FC236}">
                <a16:creationId xmlns:a16="http://schemas.microsoft.com/office/drawing/2014/main" id="{9B9669DA-CD6F-141B-2646-C514BAF0C23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572000" y="2979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1" name="Textplatzhalter 21">
            <a:extLst>
              <a:ext uri="{FF2B5EF4-FFF2-40B4-BE49-F238E27FC236}">
                <a16:creationId xmlns:a16="http://schemas.microsoft.com/office/drawing/2014/main" id="{94199FAA-A59E-6952-ED63-DDF4C7A6ABA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0572000" y="6318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72733736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443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DD4EF2ED-35D5-7DA6-08F1-FF3E736B36B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5" name="Textplatzhalter 21">
            <a:extLst>
              <a:ext uri="{FF2B5EF4-FFF2-40B4-BE49-F238E27FC236}">
                <a16:creationId xmlns:a16="http://schemas.microsoft.com/office/drawing/2014/main" id="{CB4EAA0B-1A66-85E7-D0A6-BD4A940D255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752001" y="6498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11468919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oß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443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DD4EF2ED-35D5-7DA6-08F1-FF3E736B36B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7005768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443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DD4EF2ED-35D5-7DA6-08F1-FF3E736B36B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80000" y="180000"/>
            <a:ext cx="11832000" cy="649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5" name="Textplatzhalter 21">
            <a:extLst>
              <a:ext uri="{FF2B5EF4-FFF2-40B4-BE49-F238E27FC236}">
                <a16:creationId xmlns:a16="http://schemas.microsoft.com/office/drawing/2014/main" id="{CB4EAA0B-1A66-85E7-D0A6-BD4A940D255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572000" y="6318000"/>
            <a:ext cx="1440000" cy="360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3pPr>
            <a:lvl4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400" b="1">
                <a:solidFill>
                  <a:schemeClr val="bg1"/>
                </a:solidFill>
                <a:latin typeface="+mj-lt"/>
              </a:defRPr>
            </a:lvl6pPr>
            <a:lvl7pPr algn="ctr">
              <a:lnSpc>
                <a:spcPct val="100000"/>
              </a:lnSpc>
              <a:spcBef>
                <a:spcPts val="0"/>
              </a:spcBef>
              <a:defRPr sz="1400" b="1">
                <a:solidFill>
                  <a:schemeClr val="bg1"/>
                </a:solidFill>
                <a:latin typeface="+mj-lt"/>
              </a:defRPr>
            </a:lvl7pPr>
            <a:lvl8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 cap="none" baseline="0">
                <a:solidFill>
                  <a:schemeClr val="bg1"/>
                </a:solidFill>
                <a:latin typeface="+mj-lt"/>
              </a:defRPr>
            </a:lvl8pPr>
            <a:lvl9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48263391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759D3C5-BE3B-AD0E-1004-52B7BFEC19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74436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6759D3C5-BE3B-AD0E-1004-52B7BFEC19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ildplatzhalter 7">
            <a:extLst>
              <a:ext uri="{FF2B5EF4-FFF2-40B4-BE49-F238E27FC236}">
                <a16:creationId xmlns:a16="http://schemas.microsoft.com/office/drawing/2014/main" id="{DD4EF2ED-35D5-7DA6-08F1-FF3E736B36B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6" name="Textplatzhalter 18">
            <a:extLst>
              <a:ext uri="{FF2B5EF4-FFF2-40B4-BE49-F238E27FC236}">
                <a16:creationId xmlns:a16="http://schemas.microsoft.com/office/drawing/2014/main" id="{3EEDBFFC-72D3-ECF6-A176-2C905389C30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9400" y="5732059"/>
            <a:ext cx="7108799" cy="75062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0" indent="0">
              <a:buNone/>
              <a:defRPr sz="1400">
                <a:solidFill>
                  <a:schemeClr val="bg1"/>
                </a:solidFill>
              </a:defRPr>
            </a:lvl2pPr>
            <a:lvl3pPr marL="0" indent="0">
              <a:spcBef>
                <a:spcPts val="600"/>
              </a:spcBef>
              <a:buNone/>
              <a:defRPr sz="1200">
                <a:solidFill>
                  <a:schemeClr val="bg1"/>
                </a:solidFill>
              </a:defRPr>
            </a:lvl3pPr>
            <a:lvl4pPr>
              <a:defRPr sz="1600" b="1">
                <a:solidFill>
                  <a:schemeClr val="bg1"/>
                </a:solidFill>
                <a:latin typeface="+mj-lt"/>
              </a:defRPr>
            </a:lvl4pPr>
            <a:lvl5pPr marL="0" indent="0">
              <a:buNone/>
              <a:defRPr b="1">
                <a:solidFill>
                  <a:schemeClr val="bg1"/>
                </a:solidFill>
                <a:latin typeface="+mj-lt"/>
              </a:defRPr>
            </a:lvl5pPr>
            <a:lvl6pPr marL="0" indent="0">
              <a:spcBef>
                <a:spcPts val="600"/>
              </a:spcBef>
              <a:buNone/>
              <a:defRPr sz="1200" b="1">
                <a:solidFill>
                  <a:schemeClr val="bg1"/>
                </a:solidFill>
                <a:latin typeface="+mj-lt"/>
              </a:defRPr>
            </a:lvl6pPr>
            <a:lvl7pPr>
              <a:defRPr sz="1600">
                <a:solidFill>
                  <a:schemeClr val="bg1"/>
                </a:solidFill>
              </a:defRPr>
            </a:lvl7pPr>
            <a:lvl8pPr>
              <a:spcAft>
                <a:spcPts val="0"/>
              </a:spcAft>
              <a:defRPr sz="1600" b="0" cap="none" spc="0" baseline="0">
                <a:solidFill>
                  <a:schemeClr val="bg1"/>
                </a:solidFill>
                <a:latin typeface="+mn-lt"/>
              </a:defRPr>
            </a:lvl8pPr>
            <a:lvl9pPr>
              <a:spcBef>
                <a:spcPts val="600"/>
              </a:spcBef>
              <a:spcAft>
                <a:spcPts val="0"/>
              </a:spcAft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</a:t>
            </a:r>
          </a:p>
          <a:p>
            <a:pPr lvl="6"/>
            <a:r>
              <a:rPr lang="de-DE"/>
              <a:t>Siebte</a:t>
            </a:r>
          </a:p>
          <a:p>
            <a:pPr lvl="7"/>
            <a:r>
              <a:rPr lang="de-DE"/>
              <a:t>Achte</a:t>
            </a:r>
          </a:p>
          <a:p>
            <a:pPr lvl="8"/>
            <a:r>
              <a:rPr lang="de-DE"/>
              <a:t>neunt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0279171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315CE12-2C9C-FC81-104F-740C25E0B9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531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315CE12-2C9C-FC81-104F-740C25E0B9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148290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5490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8CCFECA-7978-D051-BB72-9D7EF7108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400" y="1588656"/>
            <a:ext cx="10753200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762278D4-DE95-7582-EACD-73DB43B5F19E}"/>
              </a:ext>
            </a:extLst>
          </p:cNvPr>
          <p:cNvSpPr/>
          <p:nvPr userDrawn="1"/>
        </p:nvSpPr>
        <p:spPr>
          <a:xfrm>
            <a:off x="3876115" y="148284"/>
            <a:ext cx="8315887" cy="6709716"/>
          </a:xfrm>
          <a:custGeom>
            <a:avLst/>
            <a:gdLst>
              <a:gd name="connsiteX0" fmla="*/ 4409241 w 8315887"/>
              <a:gd name="connsiteY0" fmla="*/ 0 h 6709716"/>
              <a:gd name="connsiteX1" fmla="*/ 8315887 w 8315887"/>
              <a:gd name="connsiteY1" fmla="*/ 5944898 h 6709716"/>
              <a:gd name="connsiteX2" fmla="*/ 8315887 w 8315887"/>
              <a:gd name="connsiteY2" fmla="*/ 6400553 h 6709716"/>
              <a:gd name="connsiteX3" fmla="*/ 4409241 w 8315887"/>
              <a:gd name="connsiteY3" fmla="*/ 455657 h 6709716"/>
              <a:gd name="connsiteX4" fmla="*/ 299431 w 8315887"/>
              <a:gd name="connsiteY4" fmla="*/ 6709716 h 6709716"/>
              <a:gd name="connsiteX5" fmla="*/ 0 w 8315887"/>
              <a:gd name="connsiteY5" fmla="*/ 6709716 h 6709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15887" h="6709716">
                <a:moveTo>
                  <a:pt x="4409241" y="0"/>
                </a:moveTo>
                <a:lnTo>
                  <a:pt x="8315887" y="5944898"/>
                </a:lnTo>
                <a:lnTo>
                  <a:pt x="8315887" y="6400553"/>
                </a:lnTo>
                <a:lnTo>
                  <a:pt x="4409241" y="455657"/>
                </a:lnTo>
                <a:lnTo>
                  <a:pt x="299431" y="6709716"/>
                </a:lnTo>
                <a:lnTo>
                  <a:pt x="0" y="6709716"/>
                </a:lnTo>
                <a:close/>
              </a:path>
            </a:pathLst>
          </a:custGeom>
          <a:solidFill>
            <a:schemeClr val="bg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44346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" name="Grafik 48">
            <a:extLst>
              <a:ext uri="{FF2B5EF4-FFF2-40B4-BE49-F238E27FC236}">
                <a16:creationId xmlns:a16="http://schemas.microsoft.com/office/drawing/2014/main" id="{96E3F915-43BC-D918-1480-0C0A91AD830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315CE12-2C9C-FC81-104F-740C25E0B9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8531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8" progId="TCLayout.ActiveDocument.1">
                  <p:embed/>
                </p:oleObj>
              </mc:Choice>
              <mc:Fallback>
                <p:oleObj name="think-cell Folie" r:id="rId4" imgW="306" imgH="308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315CE12-2C9C-FC81-104F-740C25E0B9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Bildplatzhalter 37">
            <a:extLst>
              <a:ext uri="{FF2B5EF4-FFF2-40B4-BE49-F238E27FC236}">
                <a16:creationId xmlns:a16="http://schemas.microsoft.com/office/drawing/2014/main" id="{081D20E9-C41D-FC9E-D1CB-7C0E26585EA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872663" y="5833429"/>
            <a:ext cx="1354579" cy="533544"/>
          </a:xfrm>
          <a:solidFill>
            <a:schemeClr val="bg1"/>
          </a:solidFill>
        </p:spPr>
        <p:txBody>
          <a:bodyPr/>
          <a:lstStyle>
            <a:lvl1pPr>
              <a:defRPr sz="700"/>
            </a:lvl1pPr>
          </a:lstStyle>
          <a:p>
            <a:endParaRPr lang="de-CH"/>
          </a:p>
        </p:txBody>
      </p:sp>
      <p:sp>
        <p:nvSpPr>
          <p:cNvPr id="47" name="Bildplatzhalter 37">
            <a:extLst>
              <a:ext uri="{FF2B5EF4-FFF2-40B4-BE49-F238E27FC236}">
                <a16:creationId xmlns:a16="http://schemas.microsoft.com/office/drawing/2014/main" id="{AA122D8E-A89A-E89B-5A84-164DA6C6A63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698878" y="5128395"/>
            <a:ext cx="1354579" cy="533544"/>
          </a:xfrm>
          <a:solidFill>
            <a:schemeClr val="bg1"/>
          </a:solidFill>
        </p:spPr>
        <p:txBody>
          <a:bodyPr/>
          <a:lstStyle>
            <a:lvl1pPr>
              <a:defRPr sz="700"/>
            </a:lvl1pPr>
          </a:lstStyle>
          <a:p>
            <a:endParaRPr lang="de-CH"/>
          </a:p>
        </p:txBody>
      </p:sp>
      <p:sp>
        <p:nvSpPr>
          <p:cNvPr id="46" name="Bildplatzhalter 37">
            <a:extLst>
              <a:ext uri="{FF2B5EF4-FFF2-40B4-BE49-F238E27FC236}">
                <a16:creationId xmlns:a16="http://schemas.microsoft.com/office/drawing/2014/main" id="{B9E6D9B1-40F4-66FE-8EDB-05ACF790AC8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0053514" y="4423361"/>
            <a:ext cx="1354579" cy="533544"/>
          </a:xfrm>
          <a:solidFill>
            <a:schemeClr val="bg1"/>
          </a:solidFill>
        </p:spPr>
        <p:txBody>
          <a:bodyPr/>
          <a:lstStyle>
            <a:lvl1pPr>
              <a:defRPr sz="700"/>
            </a:lvl1pPr>
          </a:lstStyle>
          <a:p>
            <a:endParaRPr lang="de-CH"/>
          </a:p>
        </p:txBody>
      </p:sp>
      <p:sp>
        <p:nvSpPr>
          <p:cNvPr id="45" name="Bildplatzhalter 37">
            <a:extLst>
              <a:ext uri="{FF2B5EF4-FFF2-40B4-BE49-F238E27FC236}">
                <a16:creationId xmlns:a16="http://schemas.microsoft.com/office/drawing/2014/main" id="{6F247CC6-4F57-E854-7211-A0DC961A645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698879" y="3718327"/>
            <a:ext cx="1354579" cy="533544"/>
          </a:xfrm>
          <a:solidFill>
            <a:schemeClr val="bg1"/>
          </a:solidFill>
        </p:spPr>
        <p:txBody>
          <a:bodyPr/>
          <a:lstStyle>
            <a:lvl1pPr>
              <a:defRPr sz="700"/>
            </a:lvl1pPr>
          </a:lstStyle>
          <a:p>
            <a:endParaRPr lang="de-CH"/>
          </a:p>
        </p:txBody>
      </p:sp>
      <p:sp>
        <p:nvSpPr>
          <p:cNvPr id="44" name="Bildplatzhalter 37">
            <a:extLst>
              <a:ext uri="{FF2B5EF4-FFF2-40B4-BE49-F238E27FC236}">
                <a16:creationId xmlns:a16="http://schemas.microsoft.com/office/drawing/2014/main" id="{0AC91AF8-8DE3-43C4-AD7C-53A7C9D0C79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872664" y="3013293"/>
            <a:ext cx="1354579" cy="533544"/>
          </a:xfrm>
          <a:solidFill>
            <a:schemeClr val="bg1"/>
          </a:solidFill>
        </p:spPr>
        <p:txBody>
          <a:bodyPr/>
          <a:lstStyle>
            <a:lvl1pPr>
              <a:defRPr sz="700"/>
            </a:lvl1pPr>
          </a:lstStyle>
          <a:p>
            <a:endParaRPr lang="de-CH"/>
          </a:p>
        </p:txBody>
      </p:sp>
      <p:sp>
        <p:nvSpPr>
          <p:cNvPr id="42" name="Bildplatzhalter 37">
            <a:extLst>
              <a:ext uri="{FF2B5EF4-FFF2-40B4-BE49-F238E27FC236}">
                <a16:creationId xmlns:a16="http://schemas.microsoft.com/office/drawing/2014/main" id="{89B553CD-101C-4695-C25E-A5F9280A966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42775" y="4839692"/>
            <a:ext cx="1354579" cy="533544"/>
          </a:xfrm>
          <a:solidFill>
            <a:schemeClr val="bg1"/>
          </a:solidFill>
        </p:spPr>
        <p:txBody>
          <a:bodyPr/>
          <a:lstStyle>
            <a:lvl1pPr>
              <a:defRPr sz="700"/>
            </a:lvl1pPr>
          </a:lstStyle>
          <a:p>
            <a:endParaRPr lang="de-CH"/>
          </a:p>
        </p:txBody>
      </p:sp>
      <p:sp>
        <p:nvSpPr>
          <p:cNvPr id="41" name="Bildplatzhalter 37">
            <a:extLst>
              <a:ext uri="{FF2B5EF4-FFF2-40B4-BE49-F238E27FC236}">
                <a16:creationId xmlns:a16="http://schemas.microsoft.com/office/drawing/2014/main" id="{61C1CB1B-F6F0-DEFC-C9CE-B2D75EF0B4F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4030" y="4202169"/>
            <a:ext cx="1354579" cy="533544"/>
          </a:xfrm>
          <a:solidFill>
            <a:schemeClr val="bg1"/>
          </a:solidFill>
        </p:spPr>
        <p:txBody>
          <a:bodyPr/>
          <a:lstStyle>
            <a:lvl1pPr>
              <a:defRPr sz="700"/>
            </a:lvl1pPr>
          </a:lstStyle>
          <a:p>
            <a:endParaRPr lang="de-CH"/>
          </a:p>
        </p:txBody>
      </p:sp>
      <p:sp>
        <p:nvSpPr>
          <p:cNvPr id="40" name="Bildplatzhalter 37">
            <a:extLst>
              <a:ext uri="{FF2B5EF4-FFF2-40B4-BE49-F238E27FC236}">
                <a16:creationId xmlns:a16="http://schemas.microsoft.com/office/drawing/2014/main" id="{8A26EE22-0DC1-3EFF-154A-86C80887D20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4983" y="3564646"/>
            <a:ext cx="1354579" cy="533544"/>
          </a:xfrm>
          <a:solidFill>
            <a:schemeClr val="bg1"/>
          </a:solidFill>
        </p:spPr>
        <p:txBody>
          <a:bodyPr/>
          <a:lstStyle>
            <a:lvl1pPr>
              <a:defRPr sz="700"/>
            </a:lvl1pPr>
          </a:lstStyle>
          <a:p>
            <a:endParaRPr lang="de-CH"/>
          </a:p>
        </p:txBody>
      </p:sp>
      <p:sp>
        <p:nvSpPr>
          <p:cNvPr id="39" name="Bildplatzhalter 37">
            <a:extLst>
              <a:ext uri="{FF2B5EF4-FFF2-40B4-BE49-F238E27FC236}">
                <a16:creationId xmlns:a16="http://schemas.microsoft.com/office/drawing/2014/main" id="{15A75EC4-F09F-896E-C733-31D5AE068B2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42775" y="2927123"/>
            <a:ext cx="1354579" cy="533544"/>
          </a:xfrm>
          <a:solidFill>
            <a:schemeClr val="bg1"/>
          </a:solidFill>
        </p:spPr>
        <p:txBody>
          <a:bodyPr/>
          <a:lstStyle>
            <a:lvl1pPr>
              <a:defRPr sz="700"/>
            </a:lvl1pPr>
          </a:lstStyle>
          <a:p>
            <a:endParaRPr lang="de-CH"/>
          </a:p>
        </p:txBody>
      </p:sp>
      <p:sp>
        <p:nvSpPr>
          <p:cNvPr id="38" name="Bildplatzhalter 37">
            <a:extLst>
              <a:ext uri="{FF2B5EF4-FFF2-40B4-BE49-F238E27FC236}">
                <a16:creationId xmlns:a16="http://schemas.microsoft.com/office/drawing/2014/main" id="{73DE9BF9-CA4A-2326-40F6-AE682BE911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05201" y="2289600"/>
            <a:ext cx="1354579" cy="533544"/>
          </a:xfrm>
          <a:solidFill>
            <a:schemeClr val="bg1"/>
          </a:solidFill>
        </p:spPr>
        <p:txBody>
          <a:bodyPr/>
          <a:lstStyle>
            <a:lvl1pPr>
              <a:defRPr sz="700"/>
            </a:lvl1pPr>
          </a:lstStyle>
          <a:p>
            <a:endParaRPr lang="de-CH"/>
          </a:p>
        </p:txBody>
      </p:sp>
      <p:sp>
        <p:nvSpPr>
          <p:cNvPr id="43" name="Bildplatzhalter 37">
            <a:extLst>
              <a:ext uri="{FF2B5EF4-FFF2-40B4-BE49-F238E27FC236}">
                <a16:creationId xmlns:a16="http://schemas.microsoft.com/office/drawing/2014/main" id="{AD81039B-439D-438D-6E8C-9C0F7791062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079183" y="6114739"/>
            <a:ext cx="1354579" cy="533544"/>
          </a:xfrm>
          <a:solidFill>
            <a:schemeClr val="bg1"/>
          </a:solidFill>
        </p:spPr>
        <p:txBody>
          <a:bodyPr/>
          <a:lstStyle>
            <a:lvl1pPr>
              <a:defRPr sz="700"/>
            </a:lvl1pPr>
          </a:lstStyle>
          <a:p>
            <a:endParaRPr lang="de-CH"/>
          </a:p>
        </p:txBody>
      </p:sp>
      <p:sp>
        <p:nvSpPr>
          <p:cNvPr id="50" name="Titel 49">
            <a:extLst>
              <a:ext uri="{FF2B5EF4-FFF2-40B4-BE49-F238E27FC236}">
                <a16:creationId xmlns:a16="http://schemas.microsoft.com/office/drawing/2014/main" id="{CB9CEE3E-E79B-5763-A19A-8428158932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-1"/>
            <a:ext cx="9514491" cy="20689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52" name="Bildplatzhalter 37">
            <a:extLst>
              <a:ext uri="{FF2B5EF4-FFF2-40B4-BE49-F238E27FC236}">
                <a16:creationId xmlns:a16="http://schemas.microsoft.com/office/drawing/2014/main" id="{8999A1B7-FCF9-B97E-0754-6569D200809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356574" y="5477215"/>
            <a:ext cx="1354579" cy="533544"/>
          </a:xfrm>
          <a:solidFill>
            <a:schemeClr val="bg1"/>
          </a:solidFill>
        </p:spPr>
        <p:txBody>
          <a:bodyPr/>
          <a:lstStyle>
            <a:lvl1pPr>
              <a:defRPr sz="700"/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759399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Title, Text and 2 Objects B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Click to edit Master title style</a:t>
            </a:r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rPr lang="en-US"/>
              <a:t>Helmholtz MU-Day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 bwMode="auto">
          <a:xfrm>
            <a:off x="407989" y="817501"/>
            <a:ext cx="11376025" cy="37925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b="1">
                <a:solidFill>
                  <a:schemeClr val="accent2"/>
                </a:solidFill>
              </a:defRPr>
            </a:lvl1pPr>
            <a:lvl2pPr marL="266693" indent="0">
              <a:buNone/>
              <a:defRPr/>
            </a:lvl2pPr>
          </a:lstStyle>
          <a:p>
            <a:pPr lvl="0">
              <a:defRPr/>
            </a:pPr>
            <a:r>
              <a:rPr lang="en-US"/>
              <a:t>Edit Master text styles</a:t>
            </a:r>
            <a:endParaRPr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5"/>
          </p:nvPr>
        </p:nvSpPr>
        <p:spPr bwMode="auto">
          <a:xfrm>
            <a:off x="407989" y="1406427"/>
            <a:ext cx="7524751" cy="2454375"/>
          </a:xfrm>
        </p:spPr>
        <p:txBody>
          <a:bodyPr/>
          <a:lstStyle/>
          <a:p>
            <a:pPr lvl="0">
              <a:defRPr/>
            </a:pPr>
            <a:r>
              <a:rPr lang="en-US"/>
              <a:t>Edit Master text styles</a:t>
            </a:r>
            <a:endParaRPr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6"/>
          </p:nvPr>
        </p:nvSpPr>
        <p:spPr bwMode="auto">
          <a:xfrm>
            <a:off x="407989" y="3963534"/>
            <a:ext cx="7524751" cy="2454375"/>
          </a:xfrm>
        </p:spPr>
        <p:txBody>
          <a:bodyPr/>
          <a:lstStyle/>
          <a:p>
            <a:pPr lvl="0">
              <a:defRPr/>
            </a:pPr>
            <a:r>
              <a:rPr lang="en-US"/>
              <a:t>Edit Master text styles</a:t>
            </a:r>
            <a:endParaRPr/>
          </a:p>
        </p:txBody>
      </p:sp>
      <p:sp>
        <p:nvSpPr>
          <p:cNvPr id="12" name="Inhaltsplatzhalter 5"/>
          <p:cNvSpPr>
            <a:spLocks noGrp="1"/>
          </p:cNvSpPr>
          <p:nvPr>
            <p:ph sz="quarter" idx="18" hasCustomPrompt="1"/>
          </p:nvPr>
        </p:nvSpPr>
        <p:spPr bwMode="auto">
          <a:xfrm>
            <a:off x="8075614" y="1449389"/>
            <a:ext cx="3708399" cy="2411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" tIns="36000" rIns="72000" bIns="36000"/>
          <a:lstStyle>
            <a:lvl1pPr marL="0" indent="0">
              <a:buNone/>
              <a:defRPr/>
            </a:lvl1pPr>
          </a:lstStyle>
          <a:p>
            <a:pPr lvl="0">
              <a:defRPr/>
            </a:pPr>
            <a:r>
              <a:rPr lang="de-DE"/>
              <a:t>Object </a:t>
            </a:r>
            <a:endParaRPr/>
          </a:p>
        </p:txBody>
      </p:sp>
      <p:sp>
        <p:nvSpPr>
          <p:cNvPr id="13" name="Inhaltsplatzhalter 5"/>
          <p:cNvSpPr>
            <a:spLocks noGrp="1"/>
          </p:cNvSpPr>
          <p:nvPr>
            <p:ph sz="quarter" idx="19" hasCustomPrompt="1"/>
          </p:nvPr>
        </p:nvSpPr>
        <p:spPr bwMode="auto">
          <a:xfrm>
            <a:off x="8075614" y="4005263"/>
            <a:ext cx="3708399" cy="2411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72000" tIns="36000" rIns="72000" bIns="36000"/>
          <a:lstStyle>
            <a:lvl1pPr marL="0" indent="0">
              <a:buNone/>
              <a:defRPr/>
            </a:lvl1pPr>
          </a:lstStyle>
          <a:p>
            <a:pPr lvl="0">
              <a:defRPr/>
            </a:pPr>
            <a:r>
              <a:rPr lang="de-DE"/>
              <a:t>Object 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29120910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">
    <p:bg>
      <p:bgPr>
        <a:gradFill>
          <a:gsLst>
            <a:gs pos="57000">
              <a:srgbClr val="007B9D"/>
            </a:gs>
            <a:gs pos="37000">
              <a:srgbClr val="00649F"/>
            </a:gs>
            <a:gs pos="0">
              <a:srgbClr val="004C9A"/>
            </a:gs>
            <a:gs pos="100000">
              <a:srgbClr val="008898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ECAD9894-B8A2-5A51-40E3-2E8C79B3DD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6674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ECAD9894-B8A2-5A51-40E3-2E8C79B3DD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23C23276-581F-C880-1CF6-1ABE305DCE9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826854" y="0"/>
            <a:ext cx="6365147" cy="5721118"/>
          </a:xfrm>
          <a:custGeom>
            <a:avLst/>
            <a:gdLst>
              <a:gd name="connsiteX0" fmla="*/ 1031642 w 6365147"/>
              <a:gd name="connsiteY0" fmla="*/ 0 h 5721118"/>
              <a:gd name="connsiteX1" fmla="*/ 5607920 w 6365147"/>
              <a:gd name="connsiteY1" fmla="*/ 0 h 5721118"/>
              <a:gd name="connsiteX2" fmla="*/ 5667221 w 6365147"/>
              <a:gd name="connsiteY2" fmla="*/ 53896 h 5721118"/>
              <a:gd name="connsiteX3" fmla="*/ 6238882 w 6365147"/>
              <a:gd name="connsiteY3" fmla="*/ 818931 h 5721118"/>
              <a:gd name="connsiteX4" fmla="*/ 6365147 w 6365147"/>
              <a:gd name="connsiteY4" fmla="*/ 1081040 h 5721118"/>
              <a:gd name="connsiteX5" fmla="*/ 6365147 w 6365147"/>
              <a:gd name="connsiteY5" fmla="*/ 3721632 h 5721118"/>
              <a:gd name="connsiteX6" fmla="*/ 6238882 w 6365147"/>
              <a:gd name="connsiteY6" fmla="*/ 3983741 h 5721118"/>
              <a:gd name="connsiteX7" fmla="*/ 3319781 w 6365147"/>
              <a:gd name="connsiteY7" fmla="*/ 5721118 h 5721118"/>
              <a:gd name="connsiteX8" fmla="*/ 0 w 6365147"/>
              <a:gd name="connsiteY8" fmla="*/ 2401336 h 5721118"/>
              <a:gd name="connsiteX9" fmla="*/ 972342 w 6365147"/>
              <a:gd name="connsiteY9" fmla="*/ 53896 h 57211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365147" h="5721118">
                <a:moveTo>
                  <a:pt x="1031642" y="0"/>
                </a:moveTo>
                <a:lnTo>
                  <a:pt x="5607920" y="0"/>
                </a:lnTo>
                <a:lnTo>
                  <a:pt x="5667221" y="53896"/>
                </a:lnTo>
                <a:cubicBezTo>
                  <a:pt x="5892507" y="279182"/>
                  <a:pt x="6085564" y="536697"/>
                  <a:pt x="6238882" y="818931"/>
                </a:cubicBezTo>
                <a:lnTo>
                  <a:pt x="6365147" y="1081040"/>
                </a:lnTo>
                <a:lnTo>
                  <a:pt x="6365147" y="3721632"/>
                </a:lnTo>
                <a:lnTo>
                  <a:pt x="6238882" y="3983741"/>
                </a:lnTo>
                <a:cubicBezTo>
                  <a:pt x="5676713" y="5018601"/>
                  <a:pt x="4580288" y="5721118"/>
                  <a:pt x="3319781" y="5721118"/>
                </a:cubicBezTo>
                <a:cubicBezTo>
                  <a:pt x="1486317" y="5721118"/>
                  <a:pt x="0" y="4234801"/>
                  <a:pt x="0" y="2401336"/>
                </a:cubicBezTo>
                <a:cubicBezTo>
                  <a:pt x="0" y="1484604"/>
                  <a:pt x="371580" y="654658"/>
                  <a:pt x="972342" y="53896"/>
                </a:cubicBezTo>
                <a:close/>
              </a:path>
            </a:pathLst>
          </a:custGeom>
          <a:solidFill>
            <a:schemeClr val="bg2">
              <a:alpha val="47000"/>
            </a:schemeClr>
          </a:solidFill>
        </p:spPr>
        <p:txBody>
          <a:bodyPr wrap="square">
            <a:noAutofit/>
          </a:bodyPr>
          <a:lstStyle/>
          <a:p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B98C35-7E26-5A4C-C1BF-B0E4721B52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4012" y="209619"/>
            <a:ext cx="6751782" cy="2387600"/>
          </a:xfrm>
        </p:spPr>
        <p:txBody>
          <a:bodyPr vert="horz" anchor="b">
            <a:normAutofit/>
          </a:bodyPr>
          <a:lstStyle>
            <a:lvl1pPr algn="l">
              <a:defRPr sz="5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82CA99DA-0976-F351-B50A-2F0C4E12F49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64012" y="4996806"/>
            <a:ext cx="2510262" cy="1307978"/>
          </a:xfrm>
          <a:prstGeom prst="rect">
            <a:avLst/>
          </a:prstGeom>
        </p:spPr>
      </p:pic>
      <p:sp>
        <p:nvSpPr>
          <p:cNvPr id="3" name="Untertitel 2">
            <a:extLst>
              <a:ext uri="{FF2B5EF4-FFF2-40B4-BE49-F238E27FC236}">
                <a16:creationId xmlns:a16="http://schemas.microsoft.com/office/drawing/2014/main" id="{834E2A02-E20E-0919-A5FE-BBE4ABF01B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4012" y="2689293"/>
            <a:ext cx="6751782" cy="3794633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5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Master-Untertitelformat bearbeiten</a:t>
            </a:r>
          </a:p>
          <a:p>
            <a:pPr lvl="1"/>
            <a:r>
              <a:rPr lang="de-DE"/>
              <a:t>2</a:t>
            </a:r>
          </a:p>
          <a:p>
            <a:pPr lvl="2"/>
            <a:r>
              <a:rPr lang="de-DE"/>
              <a:t>3</a:t>
            </a:r>
          </a:p>
          <a:p>
            <a:pPr lvl="3"/>
            <a:r>
              <a:rPr lang="de-DE"/>
              <a:t>4</a:t>
            </a:r>
          </a:p>
          <a:p>
            <a:pPr lvl="4"/>
            <a:r>
              <a:rPr lang="de-DE"/>
              <a:t>5</a:t>
            </a:r>
          </a:p>
          <a:p>
            <a:pPr lvl="5"/>
            <a:r>
              <a:rPr lang="de-DE"/>
              <a:t>6</a:t>
            </a:r>
          </a:p>
          <a:p>
            <a:pPr lvl="6"/>
            <a:r>
              <a:rPr lang="de-DE"/>
              <a:t>7</a:t>
            </a:r>
          </a:p>
          <a:p>
            <a:pPr lvl="7"/>
            <a:r>
              <a:rPr lang="de-DE"/>
              <a:t>8</a:t>
            </a:r>
          </a:p>
          <a:p>
            <a:pPr lvl="8"/>
            <a:r>
              <a:rPr lang="de-DE"/>
              <a:t>9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525606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foli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ECAD9894-B8A2-5A51-40E3-2E8C79B3DD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4350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ECAD9894-B8A2-5A51-40E3-2E8C79B3DD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52379C3F-DF66-5129-6A03-D3EFA97CAFB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B98C35-7E26-5A4C-C1BF-B0E4721B52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4012" y="209619"/>
            <a:ext cx="6751782" cy="2387600"/>
          </a:xfrm>
        </p:spPr>
        <p:txBody>
          <a:bodyPr vert="horz" anchor="b">
            <a:noAutofit/>
          </a:bodyPr>
          <a:lstStyle>
            <a:lvl1pPr algn="l">
              <a:defRPr sz="5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34E2A02-E20E-0919-A5FE-BBE4ABF01B2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4012" y="2689294"/>
            <a:ext cx="9144000" cy="1655762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50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24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1200"/>
              </a:spcBef>
              <a:buNone/>
              <a:defRPr sz="16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1200"/>
              </a:spcBef>
              <a:buNone/>
              <a:defRPr sz="160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/>
              <a:t>Master-Untertitelformat bearbeiten</a:t>
            </a:r>
          </a:p>
          <a:p>
            <a:pPr lvl="1"/>
            <a:r>
              <a:rPr lang="de-DE"/>
              <a:t>2</a:t>
            </a:r>
          </a:p>
          <a:p>
            <a:pPr lvl="2"/>
            <a:r>
              <a:rPr lang="de-DE"/>
              <a:t>3</a:t>
            </a:r>
          </a:p>
          <a:p>
            <a:pPr lvl="3"/>
            <a:r>
              <a:rPr lang="de-DE"/>
              <a:t>4</a:t>
            </a:r>
          </a:p>
          <a:p>
            <a:pPr lvl="4"/>
            <a:r>
              <a:rPr lang="de-DE"/>
              <a:t>5</a:t>
            </a:r>
          </a:p>
          <a:p>
            <a:pPr lvl="5"/>
            <a:r>
              <a:rPr lang="de-DE"/>
              <a:t>6</a:t>
            </a:r>
          </a:p>
          <a:p>
            <a:pPr lvl="6"/>
            <a:r>
              <a:rPr lang="de-DE"/>
              <a:t>7</a:t>
            </a:r>
          </a:p>
          <a:p>
            <a:pPr lvl="7"/>
            <a:r>
              <a:rPr lang="de-DE"/>
              <a:t>8</a:t>
            </a:r>
          </a:p>
          <a:p>
            <a:pPr lvl="8"/>
            <a:r>
              <a:rPr lang="de-DE"/>
              <a:t>9</a:t>
            </a:r>
            <a:endParaRPr lang="de-CH"/>
          </a:p>
        </p:txBody>
      </p:sp>
      <p:sp>
        <p:nvSpPr>
          <p:cNvPr id="10" name="SmartArt-Platzhalter 9">
            <a:extLst>
              <a:ext uri="{FF2B5EF4-FFF2-40B4-BE49-F238E27FC236}">
                <a16:creationId xmlns:a16="http://schemas.microsoft.com/office/drawing/2014/main" id="{900D4142-8B8F-8CA1-F1BB-BCB44D04A098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664012" y="4996806"/>
            <a:ext cx="2510262" cy="1307978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0784799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bschnitts-&#10;überschrift">
    <p:bg>
      <p:bgPr>
        <a:gradFill flip="none" rotWithShape="1">
          <a:gsLst>
            <a:gs pos="73441">
              <a:srgbClr val="006B99"/>
            </a:gs>
            <a:gs pos="31900">
              <a:srgbClr val="00579A"/>
            </a:gs>
            <a:gs pos="0">
              <a:srgbClr val="00499A"/>
            </a:gs>
            <a:gs pos="100000">
              <a:srgbClr val="007B98"/>
            </a:gs>
          </a:gsLst>
          <a:lin ang="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1B9B6D0-B599-0C8D-4823-428FF29E6F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4513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1B9B6D0-B599-0C8D-4823-428FF29E6F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524F1C7-D140-C006-B1B1-7D88B2F41D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812049"/>
            <a:ext cx="7379277" cy="2852737"/>
          </a:xfrm>
        </p:spPr>
        <p:txBody>
          <a:bodyPr vert="horz" anchor="b">
            <a:noAutofit/>
          </a:bodyPr>
          <a:lstStyle>
            <a:lvl1pPr>
              <a:defRPr sz="5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F0DF45D-BD5E-DF7E-357F-B116607AF8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188141"/>
            <a:ext cx="7379277" cy="100382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 b="0" spc="0">
                <a:solidFill>
                  <a:schemeClr val="bg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2200" b="0" spc="0">
                <a:solidFill>
                  <a:schemeClr val="bg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2200" b="0" spc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sz="2200" b="0" spc="0">
                <a:solidFill>
                  <a:schemeClr val="bg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sz="2200" b="0" spc="0">
                <a:solidFill>
                  <a:schemeClr val="bg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sz="2200" b="0" spc="0">
                <a:solidFill>
                  <a:schemeClr val="bg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sz="2200" b="0" spc="0">
                <a:solidFill>
                  <a:schemeClr val="bg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sz="2200" b="0" spc="0">
                <a:solidFill>
                  <a:schemeClr val="bg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sz="2200" b="0" spc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60489169-EFC4-3DBC-8BB0-A923C0AF98EA}"/>
              </a:ext>
            </a:extLst>
          </p:cNvPr>
          <p:cNvSpPr/>
          <p:nvPr userDrawn="1"/>
        </p:nvSpPr>
        <p:spPr>
          <a:xfrm>
            <a:off x="831851" y="3868054"/>
            <a:ext cx="3569466" cy="1168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357" tIns="53678" rIns="107357" bIns="53678"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3950026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platzh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30BA5F04-FFDA-E53F-9908-8C760547CB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5170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30BA5F04-FFDA-E53F-9908-8C760547CB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Medienplatzhalter 8">
            <a:extLst>
              <a:ext uri="{FF2B5EF4-FFF2-40B4-BE49-F238E27FC236}">
                <a16:creationId xmlns:a16="http://schemas.microsoft.com/office/drawing/2014/main" id="{8F8F0A20-182E-6520-6DB6-DD2A645B8057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3934105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AE52EC-321F-C3A7-4607-6D9E10A1FB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14465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5490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8CCFECA-7978-D051-BB72-9D7EF7108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400" y="1588656"/>
            <a:ext cx="10753200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6" name="Freihandform: Form 15">
            <a:extLst>
              <a:ext uri="{FF2B5EF4-FFF2-40B4-BE49-F238E27FC236}">
                <a16:creationId xmlns:a16="http://schemas.microsoft.com/office/drawing/2014/main" id="{762278D4-DE95-7582-EACD-73DB43B5F19E}"/>
              </a:ext>
            </a:extLst>
          </p:cNvPr>
          <p:cNvSpPr/>
          <p:nvPr userDrawn="1"/>
        </p:nvSpPr>
        <p:spPr>
          <a:xfrm>
            <a:off x="3876115" y="148284"/>
            <a:ext cx="8315887" cy="6709716"/>
          </a:xfrm>
          <a:custGeom>
            <a:avLst/>
            <a:gdLst>
              <a:gd name="connsiteX0" fmla="*/ 4409241 w 8315887"/>
              <a:gd name="connsiteY0" fmla="*/ 0 h 6709716"/>
              <a:gd name="connsiteX1" fmla="*/ 8315887 w 8315887"/>
              <a:gd name="connsiteY1" fmla="*/ 5944898 h 6709716"/>
              <a:gd name="connsiteX2" fmla="*/ 8315887 w 8315887"/>
              <a:gd name="connsiteY2" fmla="*/ 6400553 h 6709716"/>
              <a:gd name="connsiteX3" fmla="*/ 4409241 w 8315887"/>
              <a:gd name="connsiteY3" fmla="*/ 455657 h 6709716"/>
              <a:gd name="connsiteX4" fmla="*/ 299431 w 8315887"/>
              <a:gd name="connsiteY4" fmla="*/ 6709716 h 6709716"/>
              <a:gd name="connsiteX5" fmla="*/ 0 w 8315887"/>
              <a:gd name="connsiteY5" fmla="*/ 6709716 h 67097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15887" h="6709716">
                <a:moveTo>
                  <a:pt x="4409241" y="0"/>
                </a:moveTo>
                <a:lnTo>
                  <a:pt x="8315887" y="5944898"/>
                </a:lnTo>
                <a:lnTo>
                  <a:pt x="8315887" y="6400553"/>
                </a:lnTo>
                <a:lnTo>
                  <a:pt x="4409241" y="455657"/>
                </a:lnTo>
                <a:lnTo>
                  <a:pt x="299431" y="6709716"/>
                </a:lnTo>
                <a:lnTo>
                  <a:pt x="0" y="6709716"/>
                </a:lnTo>
                <a:close/>
              </a:path>
            </a:pathLst>
          </a:custGeom>
          <a:solidFill>
            <a:schemeClr val="bg2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7606959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5490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8CCFECA-7978-D051-BB72-9D7EF7108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400" y="1588656"/>
            <a:ext cx="10753200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775763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ifläche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5490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8CCFECA-7978-D051-BB72-9D7EF7108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0" y="1588656"/>
            <a:ext cx="6900599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434347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5490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8CCFECA-7978-D051-BB72-9D7EF7108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400" y="1588656"/>
            <a:ext cx="10753200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2831623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5490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8CCFECA-7978-D051-BB72-9D7EF7108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400" y="1588656"/>
            <a:ext cx="6900599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C351BFB-3AFD-7E96-61BC-E3CE11FDB99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799999" y="1588656"/>
            <a:ext cx="4392001" cy="4588308"/>
          </a:xfrm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5398029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Frei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5490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8CCFECA-7978-D051-BB72-9D7EF7108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400" y="1588656"/>
            <a:ext cx="6900599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2504400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5490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8CCFECA-7978-D051-BB72-9D7EF7108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400" y="1588656"/>
            <a:ext cx="5196600" cy="45883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0" name="Textplatzhalter 8">
            <a:extLst>
              <a:ext uri="{FF2B5EF4-FFF2-40B4-BE49-F238E27FC236}">
                <a16:creationId xmlns:a16="http://schemas.microsoft.com/office/drawing/2014/main" id="{9B9D9A30-77FC-E723-743C-A05BFB8BE63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6000" y="1588656"/>
            <a:ext cx="5196600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5840502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1588656"/>
            <a:ext cx="10753200" cy="458830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3783580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1588656"/>
            <a:ext cx="3464400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3" name="Bildplatzhalter 6">
            <a:extLst>
              <a:ext uri="{FF2B5EF4-FFF2-40B4-BE49-F238E27FC236}">
                <a16:creationId xmlns:a16="http://schemas.microsoft.com/office/drawing/2014/main" id="{9ECBE55B-6CC7-C93C-5119-DA0B0B7384B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63800" y="1588656"/>
            <a:ext cx="3464400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792CCA37-1F8C-F4DC-20B5-83C099D3D7C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08200" y="1588656"/>
            <a:ext cx="3464400" cy="458830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7669C91A-CB03-8536-9973-86ED129706DB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363800" y="3972810"/>
            <a:ext cx="3464400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E14B6487-8ABD-B872-CF94-BD609D296C8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9400" y="3972810"/>
            <a:ext cx="3464400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4104993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1588656"/>
            <a:ext cx="4505657" cy="458830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04B01C6F-63B2-9CB1-8A2F-0A84698A6CE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405057" y="1588656"/>
            <a:ext cx="2943772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1" name="Bildplatzhalter 6">
            <a:extLst>
              <a:ext uri="{FF2B5EF4-FFF2-40B4-BE49-F238E27FC236}">
                <a16:creationId xmlns:a16="http://schemas.microsoft.com/office/drawing/2014/main" id="{8210464D-92B7-58B2-67E5-4BE2B9A6246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528829" y="1588656"/>
            <a:ext cx="2943772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2" name="Bildplatzhalter 6">
            <a:extLst>
              <a:ext uri="{FF2B5EF4-FFF2-40B4-BE49-F238E27FC236}">
                <a16:creationId xmlns:a16="http://schemas.microsoft.com/office/drawing/2014/main" id="{19E08F26-A93F-6121-AFE6-8CABCA0F1F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405057" y="3972810"/>
            <a:ext cx="2943772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3" name="Bildplatzhalter 6">
            <a:extLst>
              <a:ext uri="{FF2B5EF4-FFF2-40B4-BE49-F238E27FC236}">
                <a16:creationId xmlns:a16="http://schemas.microsoft.com/office/drawing/2014/main" id="{2D23055A-A076-2583-9C3E-0CE2A384D4C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528829" y="3972810"/>
            <a:ext cx="2943772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24" name="Textplatzhalter 21">
            <a:extLst>
              <a:ext uri="{FF2B5EF4-FFF2-40B4-BE49-F238E27FC236}">
                <a16:creationId xmlns:a16="http://schemas.microsoft.com/office/drawing/2014/main" id="{B3409708-3272-3ED8-F35F-75BC1AF2B23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9400" y="5852964"/>
            <a:ext cx="4505657" cy="324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6pPr>
            <a:lvl7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7pPr>
            <a:lvl8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none" spc="0" baseline="0">
                <a:solidFill>
                  <a:schemeClr val="bg1"/>
                </a:solidFill>
                <a:latin typeface="+mn-lt"/>
              </a:defRPr>
            </a:lvl8pPr>
            <a:lvl9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spc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29" name="Textplatzhalter 21">
            <a:extLst>
              <a:ext uri="{FF2B5EF4-FFF2-40B4-BE49-F238E27FC236}">
                <a16:creationId xmlns:a16="http://schemas.microsoft.com/office/drawing/2014/main" id="{831E3449-69DC-9FA3-D70A-F2F0EB5DAA2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405057" y="3468810"/>
            <a:ext cx="2943772" cy="324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6pPr>
            <a:lvl7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7pPr>
            <a:lvl8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none" spc="0" baseline="0">
                <a:solidFill>
                  <a:schemeClr val="bg1"/>
                </a:solidFill>
                <a:latin typeface="+mn-lt"/>
              </a:defRPr>
            </a:lvl8pPr>
            <a:lvl9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spc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30" name="Textplatzhalter 21">
            <a:extLst>
              <a:ext uri="{FF2B5EF4-FFF2-40B4-BE49-F238E27FC236}">
                <a16:creationId xmlns:a16="http://schemas.microsoft.com/office/drawing/2014/main" id="{82F4489E-267F-23D9-ECD0-47D4A7905A8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28829" y="3468810"/>
            <a:ext cx="2943772" cy="324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6pPr>
            <a:lvl7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7pPr>
            <a:lvl8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none" spc="0" baseline="0">
                <a:solidFill>
                  <a:schemeClr val="bg1"/>
                </a:solidFill>
                <a:latin typeface="+mn-lt"/>
              </a:defRPr>
            </a:lvl8pPr>
            <a:lvl9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spc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31" name="Textplatzhalter 21">
            <a:extLst>
              <a:ext uri="{FF2B5EF4-FFF2-40B4-BE49-F238E27FC236}">
                <a16:creationId xmlns:a16="http://schemas.microsoft.com/office/drawing/2014/main" id="{6FDFB947-0CDA-9E53-94F6-307F4093749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405057" y="5852964"/>
            <a:ext cx="2943772" cy="324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6pPr>
            <a:lvl7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7pPr>
            <a:lvl8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none" spc="0" baseline="0">
                <a:solidFill>
                  <a:schemeClr val="bg1"/>
                </a:solidFill>
                <a:latin typeface="+mn-lt"/>
              </a:defRPr>
            </a:lvl8pPr>
            <a:lvl9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spc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32" name="Textplatzhalter 21">
            <a:extLst>
              <a:ext uri="{FF2B5EF4-FFF2-40B4-BE49-F238E27FC236}">
                <a16:creationId xmlns:a16="http://schemas.microsoft.com/office/drawing/2014/main" id="{0E1D5C81-546E-744A-17D0-73C40320F2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528829" y="5852964"/>
            <a:ext cx="2943772" cy="324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6pPr>
            <a:lvl7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7pPr>
            <a:lvl8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none" spc="0" baseline="0">
                <a:solidFill>
                  <a:schemeClr val="bg1"/>
                </a:solidFill>
                <a:latin typeface="+mn-lt"/>
              </a:defRPr>
            </a:lvl8pPr>
            <a:lvl9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spc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0293448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1" y="1588656"/>
            <a:ext cx="3475691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157F4D65-1FB1-2AD7-C77B-BEC19B686AD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75092" y="1588656"/>
            <a:ext cx="7097509" cy="458830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21C6026B-A364-0C42-0B64-CE9CF5BBEF6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19401" y="3972810"/>
            <a:ext cx="3475691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2169000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1" y="1588656"/>
            <a:ext cx="3099959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157F4D65-1FB1-2AD7-C77B-BEC19B686AD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999360" y="1588656"/>
            <a:ext cx="7473240" cy="458830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21C6026B-A364-0C42-0B64-CE9CF5BBEF6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19401" y="3972810"/>
            <a:ext cx="3099959" cy="220415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9791693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5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0996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447BBCF4-4C61-3F03-96B8-86FFC3C24D5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76964"/>
          </a:xfrm>
          <a:custGeom>
            <a:avLst/>
            <a:gdLst>
              <a:gd name="connsiteX0" fmla="*/ 719400 w 12192000"/>
              <a:gd name="connsiteY0" fmla="*/ 1185290 h 6176964"/>
              <a:gd name="connsiteX1" fmla="*/ 719400 w 12192000"/>
              <a:gd name="connsiteY1" fmla="*/ 1250090 h 6176964"/>
              <a:gd name="connsiteX2" fmla="*/ 2699400 w 12192000"/>
              <a:gd name="connsiteY2" fmla="*/ 1250090 h 6176964"/>
              <a:gd name="connsiteX3" fmla="*/ 2699400 w 12192000"/>
              <a:gd name="connsiteY3" fmla="*/ 1185290 h 6176964"/>
              <a:gd name="connsiteX4" fmla="*/ 0 w 12192000"/>
              <a:gd name="connsiteY4" fmla="*/ 0 h 6176964"/>
              <a:gd name="connsiteX5" fmla="*/ 12192000 w 12192000"/>
              <a:gd name="connsiteY5" fmla="*/ 0 h 6176964"/>
              <a:gd name="connsiteX6" fmla="*/ 12192000 w 12192000"/>
              <a:gd name="connsiteY6" fmla="*/ 6176964 h 6176964"/>
              <a:gd name="connsiteX7" fmla="*/ 0 w 12192000"/>
              <a:gd name="connsiteY7" fmla="*/ 6176964 h 6176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176964">
                <a:moveTo>
                  <a:pt x="719400" y="1185290"/>
                </a:moveTo>
                <a:lnTo>
                  <a:pt x="719400" y="1250090"/>
                </a:lnTo>
                <a:lnTo>
                  <a:pt x="2699400" y="1250090"/>
                </a:lnTo>
                <a:lnTo>
                  <a:pt x="2699400" y="118529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176964"/>
                </a:lnTo>
                <a:lnTo>
                  <a:pt x="0" y="6176964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81712" y="6589397"/>
            <a:ext cx="907473" cy="134936"/>
          </a:xfrm>
        </p:spPr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pic>
        <p:nvPicPr>
          <p:cNvPr id="12" name="Picture 6" descr="Logo&#10;&#10;Description automatically generated">
            <a:extLst>
              <a:ext uri="{FF2B5EF4-FFF2-40B4-BE49-F238E27FC236}">
                <a16:creationId xmlns:a16="http://schemas.microsoft.com/office/drawing/2014/main" id="{7824872E-2E83-A986-E826-90DAEC17065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10748441" y="6324952"/>
            <a:ext cx="724160" cy="377823"/>
          </a:xfrm>
          <a:prstGeom prst="rect">
            <a:avLst/>
          </a:prstGeom>
        </p:spPr>
      </p:pic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0141999-0CC1-0748-41C7-25843012BCC0}"/>
              </a:ext>
            </a:extLst>
          </p:cNvPr>
          <p:cNvCxnSpPr/>
          <p:nvPr userDrawn="1"/>
        </p:nvCxnSpPr>
        <p:spPr>
          <a:xfrm>
            <a:off x="6096000" y="6558344"/>
            <a:ext cx="0" cy="197042"/>
          </a:xfrm>
          <a:prstGeom prst="line">
            <a:avLst/>
          </a:prstGeom>
          <a:ln w="19050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48B89B0A-5863-5544-351E-EFB4DED787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21894" y="2463282"/>
            <a:ext cx="4250705" cy="3180136"/>
          </a:xfrm>
          <a:solidFill>
            <a:schemeClr val="tx2">
              <a:alpha val="80000"/>
            </a:schemeClr>
          </a:solidFill>
        </p:spPr>
        <p:txBody>
          <a:bodyPr lIns="216000" tIns="216000" rIns="216000" bIns="21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</a:t>
            </a:r>
          </a:p>
          <a:p>
            <a:pPr lvl="6"/>
            <a:r>
              <a:rPr lang="de-DE"/>
              <a:t>Siebte</a:t>
            </a:r>
          </a:p>
          <a:p>
            <a:pPr lvl="7"/>
            <a:r>
              <a:rPr lang="de-DE"/>
              <a:t>Achte</a:t>
            </a:r>
          </a:p>
          <a:p>
            <a:pPr lvl="8"/>
            <a:r>
              <a:rPr lang="de-DE"/>
              <a:t>Neunt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178615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7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0996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447BBCF4-4C61-3F03-96B8-86FFC3C24D5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76964"/>
          </a:xfrm>
          <a:custGeom>
            <a:avLst/>
            <a:gdLst>
              <a:gd name="connsiteX0" fmla="*/ 719400 w 12192000"/>
              <a:gd name="connsiteY0" fmla="*/ 1185290 h 6176964"/>
              <a:gd name="connsiteX1" fmla="*/ 719400 w 12192000"/>
              <a:gd name="connsiteY1" fmla="*/ 1250090 h 6176964"/>
              <a:gd name="connsiteX2" fmla="*/ 2699400 w 12192000"/>
              <a:gd name="connsiteY2" fmla="*/ 1250090 h 6176964"/>
              <a:gd name="connsiteX3" fmla="*/ 2699400 w 12192000"/>
              <a:gd name="connsiteY3" fmla="*/ 1185290 h 6176964"/>
              <a:gd name="connsiteX4" fmla="*/ 0 w 12192000"/>
              <a:gd name="connsiteY4" fmla="*/ 0 h 6176964"/>
              <a:gd name="connsiteX5" fmla="*/ 12192000 w 12192000"/>
              <a:gd name="connsiteY5" fmla="*/ 0 h 6176964"/>
              <a:gd name="connsiteX6" fmla="*/ 12192000 w 12192000"/>
              <a:gd name="connsiteY6" fmla="*/ 6176964 h 6176964"/>
              <a:gd name="connsiteX7" fmla="*/ 0 w 12192000"/>
              <a:gd name="connsiteY7" fmla="*/ 6176964 h 6176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176964">
                <a:moveTo>
                  <a:pt x="719400" y="1185290"/>
                </a:moveTo>
                <a:lnTo>
                  <a:pt x="719400" y="1250090"/>
                </a:lnTo>
                <a:lnTo>
                  <a:pt x="2699400" y="1250090"/>
                </a:lnTo>
                <a:lnTo>
                  <a:pt x="2699400" y="118529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176964"/>
                </a:lnTo>
                <a:lnTo>
                  <a:pt x="0" y="6176964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pic>
        <p:nvPicPr>
          <p:cNvPr id="12" name="Picture 6" descr="Logo&#10;&#10;Description automatically generated">
            <a:extLst>
              <a:ext uri="{FF2B5EF4-FFF2-40B4-BE49-F238E27FC236}">
                <a16:creationId xmlns:a16="http://schemas.microsoft.com/office/drawing/2014/main" id="{7824872E-2E83-A986-E826-90DAEC17065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10748441" y="6324952"/>
            <a:ext cx="724160" cy="377823"/>
          </a:xfrm>
          <a:prstGeom prst="rect">
            <a:avLst/>
          </a:prstGeom>
        </p:spPr>
      </p:pic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0141999-0CC1-0748-41C7-25843012BCC0}"/>
              </a:ext>
            </a:extLst>
          </p:cNvPr>
          <p:cNvCxnSpPr/>
          <p:nvPr userDrawn="1"/>
        </p:nvCxnSpPr>
        <p:spPr>
          <a:xfrm>
            <a:off x="6096000" y="6558344"/>
            <a:ext cx="0" cy="197042"/>
          </a:xfrm>
          <a:prstGeom prst="line">
            <a:avLst/>
          </a:prstGeom>
          <a:ln w="19050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99053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ifläche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5490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8CCFECA-7978-D051-BB72-9D7EF7108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0" y="1588656"/>
            <a:ext cx="6900599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3446035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1703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9A963634-F058-34AF-375E-ED6FC5315BDB}"/>
              </a:ext>
            </a:extLst>
          </p:cNvPr>
          <p:cNvSpPr/>
          <p:nvPr userDrawn="1"/>
        </p:nvSpPr>
        <p:spPr>
          <a:xfrm>
            <a:off x="249382" y="1080656"/>
            <a:ext cx="2854036" cy="41243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447BBCF4-4C61-3F03-96B8-86FFC3C24D5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76964"/>
          </a:xfrm>
          <a:custGeom>
            <a:avLst/>
            <a:gdLst>
              <a:gd name="connsiteX0" fmla="*/ 719400 w 12192000"/>
              <a:gd name="connsiteY0" fmla="*/ 1185290 h 6176964"/>
              <a:gd name="connsiteX1" fmla="*/ 719400 w 12192000"/>
              <a:gd name="connsiteY1" fmla="*/ 1250090 h 6176964"/>
              <a:gd name="connsiteX2" fmla="*/ 2699400 w 12192000"/>
              <a:gd name="connsiteY2" fmla="*/ 1250090 h 6176964"/>
              <a:gd name="connsiteX3" fmla="*/ 2699400 w 12192000"/>
              <a:gd name="connsiteY3" fmla="*/ 1185290 h 6176964"/>
              <a:gd name="connsiteX4" fmla="*/ 0 w 12192000"/>
              <a:gd name="connsiteY4" fmla="*/ 0 h 6176964"/>
              <a:gd name="connsiteX5" fmla="*/ 12192000 w 12192000"/>
              <a:gd name="connsiteY5" fmla="*/ 0 h 6176964"/>
              <a:gd name="connsiteX6" fmla="*/ 12192000 w 12192000"/>
              <a:gd name="connsiteY6" fmla="*/ 6176964 h 6176964"/>
              <a:gd name="connsiteX7" fmla="*/ 0 w 12192000"/>
              <a:gd name="connsiteY7" fmla="*/ 6176964 h 61769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176964">
                <a:moveTo>
                  <a:pt x="719400" y="1185290"/>
                </a:moveTo>
                <a:lnTo>
                  <a:pt x="719400" y="1250090"/>
                </a:lnTo>
                <a:lnTo>
                  <a:pt x="2699400" y="1250090"/>
                </a:lnTo>
                <a:lnTo>
                  <a:pt x="2699400" y="118529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176964"/>
                </a:lnTo>
                <a:lnTo>
                  <a:pt x="0" y="6176964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CH" sz="3000" b="1" kern="1200">
                <a:gradFill>
                  <a:gsLst>
                    <a:gs pos="73441">
                      <a:srgbClr val="006B99"/>
                    </a:gs>
                    <a:gs pos="31900">
                      <a:srgbClr val="00579A"/>
                    </a:gs>
                    <a:gs pos="0">
                      <a:srgbClr val="004A9A"/>
                    </a:gs>
                    <a:gs pos="100000">
                      <a:srgbClr val="007B98"/>
                    </a:gs>
                  </a:gsLst>
                  <a:path path="circle">
                    <a:fillToRect t="100000" r="100000"/>
                  </a:path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pic>
        <p:nvPicPr>
          <p:cNvPr id="12" name="Picture 6" descr="Logo&#10;&#10;Description automatically generated">
            <a:extLst>
              <a:ext uri="{FF2B5EF4-FFF2-40B4-BE49-F238E27FC236}">
                <a16:creationId xmlns:a16="http://schemas.microsoft.com/office/drawing/2014/main" id="{7824872E-2E83-A986-E826-90DAEC17065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10748441" y="6324952"/>
            <a:ext cx="724160" cy="377823"/>
          </a:xfrm>
          <a:prstGeom prst="rect">
            <a:avLst/>
          </a:prstGeom>
        </p:spPr>
      </p:pic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70141999-0CC1-0748-41C7-25843012BCC0}"/>
              </a:ext>
            </a:extLst>
          </p:cNvPr>
          <p:cNvCxnSpPr/>
          <p:nvPr userDrawn="1"/>
        </p:nvCxnSpPr>
        <p:spPr>
          <a:xfrm>
            <a:off x="6096000" y="6558344"/>
            <a:ext cx="0" cy="197042"/>
          </a:xfrm>
          <a:prstGeom prst="line">
            <a:avLst/>
          </a:prstGeom>
          <a:ln w="19050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450387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7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420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9A963634-F058-34AF-375E-ED6FC5315BDB}"/>
              </a:ext>
            </a:extLst>
          </p:cNvPr>
          <p:cNvSpPr/>
          <p:nvPr userDrawn="1"/>
        </p:nvSpPr>
        <p:spPr>
          <a:xfrm>
            <a:off x="249382" y="1080656"/>
            <a:ext cx="2854036" cy="41243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C15A1E8E-6D31-9BDC-63FA-6635894335E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719400 w 12192000"/>
              <a:gd name="connsiteY0" fmla="*/ 1185290 h 6858000"/>
              <a:gd name="connsiteX1" fmla="*/ 719400 w 12192000"/>
              <a:gd name="connsiteY1" fmla="*/ 1250090 h 6858000"/>
              <a:gd name="connsiteX2" fmla="*/ 2699400 w 12192000"/>
              <a:gd name="connsiteY2" fmla="*/ 1250090 h 6858000"/>
              <a:gd name="connsiteX3" fmla="*/ 2699400 w 12192000"/>
              <a:gd name="connsiteY3" fmla="*/ 118529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719400" y="1185290"/>
                </a:moveTo>
                <a:lnTo>
                  <a:pt x="719400" y="1250090"/>
                </a:lnTo>
                <a:lnTo>
                  <a:pt x="2699400" y="1250090"/>
                </a:lnTo>
                <a:lnTo>
                  <a:pt x="2699400" y="118529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CH" sz="3000" b="1" kern="1200">
                <a:gradFill>
                  <a:gsLst>
                    <a:gs pos="73441">
                      <a:srgbClr val="006B99"/>
                    </a:gs>
                    <a:gs pos="31900">
                      <a:srgbClr val="00579A"/>
                    </a:gs>
                    <a:gs pos="0">
                      <a:srgbClr val="004A9A"/>
                    </a:gs>
                    <a:gs pos="100000">
                      <a:srgbClr val="007B98"/>
                    </a:gs>
                  </a:gsLst>
                  <a:path path="circle">
                    <a:fillToRect t="100000" r="100000"/>
                  </a:path>
                </a:gradFill>
                <a:latin typeface="+mj-lt"/>
                <a:ea typeface="+mj-ea"/>
                <a:cs typeface="+mj-cs"/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9967683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9486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4E0EDA89-723D-08CE-A606-B48FBD1843E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719400 w 12192000"/>
              <a:gd name="connsiteY0" fmla="*/ 1185290 h 6858000"/>
              <a:gd name="connsiteX1" fmla="*/ 719400 w 12192000"/>
              <a:gd name="connsiteY1" fmla="*/ 1250090 h 6858000"/>
              <a:gd name="connsiteX2" fmla="*/ 2699400 w 12192000"/>
              <a:gd name="connsiteY2" fmla="*/ 1250090 h 6858000"/>
              <a:gd name="connsiteX3" fmla="*/ 2699400 w 12192000"/>
              <a:gd name="connsiteY3" fmla="*/ 1185290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719400" y="1185290"/>
                </a:moveTo>
                <a:lnTo>
                  <a:pt x="719400" y="1250090"/>
                </a:lnTo>
                <a:lnTo>
                  <a:pt x="2699400" y="1250090"/>
                </a:lnTo>
                <a:lnTo>
                  <a:pt x="2699400" y="118529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pattFill prst="wdDnDiag">
            <a:fgClr>
              <a:schemeClr val="bg2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529193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1BF45906-3170-3791-5C0B-4825495BF315}"/>
              </a:ext>
            </a:extLst>
          </p:cNvPr>
          <p:cNvSpPr>
            <a:spLocks noGrp="1"/>
          </p:cNvSpPr>
          <p:nvPr>
            <p:ph type="media" sz="quarter" idx="11"/>
          </p:nvPr>
        </p:nvSpPr>
        <p:spPr>
          <a:xfrm>
            <a:off x="0" y="0"/>
            <a:ext cx="12192000" cy="6858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9486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2248916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24793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Bildplatzhalter 27">
            <a:extLst>
              <a:ext uri="{FF2B5EF4-FFF2-40B4-BE49-F238E27FC236}">
                <a16:creationId xmlns:a16="http://schemas.microsoft.com/office/drawing/2014/main" id="{FA05F197-BA9C-07BF-6811-2FC654B48B4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192000" cy="3922714"/>
          </a:xfrm>
          <a:custGeom>
            <a:avLst/>
            <a:gdLst>
              <a:gd name="connsiteX0" fmla="*/ 719400 w 12192000"/>
              <a:gd name="connsiteY0" fmla="*/ 1185290 h 3922714"/>
              <a:gd name="connsiteX1" fmla="*/ 719400 w 12192000"/>
              <a:gd name="connsiteY1" fmla="*/ 1250090 h 3922714"/>
              <a:gd name="connsiteX2" fmla="*/ 2699400 w 12192000"/>
              <a:gd name="connsiteY2" fmla="*/ 1250090 h 3922714"/>
              <a:gd name="connsiteX3" fmla="*/ 2699400 w 12192000"/>
              <a:gd name="connsiteY3" fmla="*/ 1185290 h 3922714"/>
              <a:gd name="connsiteX4" fmla="*/ 0 w 12192000"/>
              <a:gd name="connsiteY4" fmla="*/ 0 h 3922714"/>
              <a:gd name="connsiteX5" fmla="*/ 12192000 w 12192000"/>
              <a:gd name="connsiteY5" fmla="*/ 0 h 3922714"/>
              <a:gd name="connsiteX6" fmla="*/ 12192000 w 12192000"/>
              <a:gd name="connsiteY6" fmla="*/ 3922714 h 3922714"/>
              <a:gd name="connsiteX7" fmla="*/ 0 w 12192000"/>
              <a:gd name="connsiteY7" fmla="*/ 3922714 h 3922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3922714">
                <a:moveTo>
                  <a:pt x="719400" y="1185290"/>
                </a:moveTo>
                <a:lnTo>
                  <a:pt x="719400" y="1250090"/>
                </a:lnTo>
                <a:lnTo>
                  <a:pt x="2699400" y="1250090"/>
                </a:lnTo>
                <a:lnTo>
                  <a:pt x="2699400" y="118529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922714"/>
                </a:lnTo>
                <a:lnTo>
                  <a:pt x="0" y="3922714"/>
                </a:lnTo>
                <a:close/>
              </a:path>
            </a:pathLst>
          </a:custGeo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 wrap="square">
            <a:noAutofit/>
          </a:bodyPr>
          <a:lstStyle/>
          <a:p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9420D374-CF7B-6362-4815-F1A812A8BE8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9400" y="4300538"/>
            <a:ext cx="7048800" cy="18764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29" name="Picture 6" descr="Logo&#10;&#10;Description automatically generated">
            <a:extLst>
              <a:ext uri="{FF2B5EF4-FFF2-40B4-BE49-F238E27FC236}">
                <a16:creationId xmlns:a16="http://schemas.microsoft.com/office/drawing/2014/main" id="{A8E757DE-FEFD-3B73-044D-2A129AD4F50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10748441" y="6324952"/>
            <a:ext cx="724160" cy="377823"/>
          </a:xfrm>
          <a:prstGeom prst="rect">
            <a:avLst/>
          </a:prstGeom>
        </p:spPr>
      </p:pic>
      <p:cxnSp>
        <p:nvCxnSpPr>
          <p:cNvPr id="30" name="Gerader Verbinder 29">
            <a:extLst>
              <a:ext uri="{FF2B5EF4-FFF2-40B4-BE49-F238E27FC236}">
                <a16:creationId xmlns:a16="http://schemas.microsoft.com/office/drawing/2014/main" id="{77290C06-770E-7828-1A68-3ED4E8758650}"/>
              </a:ext>
            </a:extLst>
          </p:cNvPr>
          <p:cNvCxnSpPr/>
          <p:nvPr userDrawn="1"/>
        </p:nvCxnSpPr>
        <p:spPr>
          <a:xfrm>
            <a:off x="6096000" y="6558344"/>
            <a:ext cx="0" cy="197042"/>
          </a:xfrm>
          <a:prstGeom prst="line">
            <a:avLst/>
          </a:prstGeom>
          <a:ln w="19050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997524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1588654"/>
            <a:ext cx="7108799" cy="3780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FF3AE96C-EB9B-D733-73B8-6CEFBF12F2C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008201" y="1588654"/>
            <a:ext cx="3464402" cy="378000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9420D374-CF7B-6362-4815-F1A812A8BE8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9400" y="5467928"/>
            <a:ext cx="7108799" cy="709036"/>
          </a:xfrm>
        </p:spPr>
        <p:txBody>
          <a:bodyPr/>
          <a:lstStyle>
            <a:lvl2pPr marL="0" indent="0">
              <a:buNone/>
              <a:defRPr sz="1400"/>
            </a:lvl2pPr>
            <a:lvl3pPr marL="0" indent="0">
              <a:spcBef>
                <a:spcPts val="600"/>
              </a:spcBef>
              <a:buNone/>
              <a:defRPr sz="1200"/>
            </a:lvl3pPr>
            <a:lvl4pPr>
              <a:defRPr sz="1600" b="1">
                <a:solidFill>
                  <a:schemeClr val="tx2"/>
                </a:solidFill>
                <a:latin typeface="+mj-lt"/>
              </a:defRPr>
            </a:lvl4pPr>
            <a:lvl5pPr marL="0" indent="0">
              <a:buNone/>
              <a:defRPr b="1">
                <a:solidFill>
                  <a:schemeClr val="tx2"/>
                </a:solidFill>
                <a:latin typeface="+mj-lt"/>
              </a:defRPr>
            </a:lvl5pPr>
            <a:lvl6pPr marL="0" indent="0">
              <a:spcBef>
                <a:spcPts val="60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6pPr>
            <a:lvl7pPr>
              <a:defRPr sz="1600"/>
            </a:lvl7pPr>
            <a:lvl8pPr>
              <a:spcAft>
                <a:spcPts val="0"/>
              </a:spcAft>
              <a:defRPr sz="1600" b="0" cap="none" spc="0" baseline="0">
                <a:solidFill>
                  <a:schemeClr val="tx1"/>
                </a:solidFill>
                <a:latin typeface="+mn-lt"/>
              </a:defRPr>
            </a:lvl8pPr>
            <a:lvl9pPr>
              <a:spcBef>
                <a:spcPts val="600"/>
              </a:spcBef>
              <a:spcAft>
                <a:spcPts val="0"/>
              </a:spcAft>
              <a:defRPr sz="1600">
                <a:latin typeface="+mn-lt"/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</a:t>
            </a:r>
          </a:p>
          <a:p>
            <a:pPr lvl="6"/>
            <a:r>
              <a:rPr lang="de-DE"/>
              <a:t>Siebte</a:t>
            </a:r>
          </a:p>
          <a:p>
            <a:pPr lvl="7"/>
            <a:r>
              <a:rPr lang="de-DE"/>
              <a:t>Achte</a:t>
            </a:r>
          </a:p>
          <a:p>
            <a:pPr lvl="8"/>
            <a:r>
              <a:rPr lang="de-DE"/>
              <a:t>neunte</a:t>
            </a:r>
            <a:endParaRPr lang="de-CH"/>
          </a:p>
        </p:txBody>
      </p:sp>
      <p:sp>
        <p:nvSpPr>
          <p:cNvPr id="11" name="Textplatzhalter 18">
            <a:extLst>
              <a:ext uri="{FF2B5EF4-FFF2-40B4-BE49-F238E27FC236}">
                <a16:creationId xmlns:a16="http://schemas.microsoft.com/office/drawing/2014/main" id="{2E8EEAB1-FE4C-AE40-DE9E-7B7FA3F9784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008201" y="5467928"/>
            <a:ext cx="3464402" cy="709036"/>
          </a:xfrm>
        </p:spPr>
        <p:txBody>
          <a:bodyPr/>
          <a:lstStyle>
            <a:lvl2pPr marL="0" indent="0">
              <a:buNone/>
              <a:defRPr sz="1400"/>
            </a:lvl2pPr>
            <a:lvl3pPr marL="0" indent="0">
              <a:spcBef>
                <a:spcPts val="600"/>
              </a:spcBef>
              <a:buNone/>
              <a:defRPr sz="1200"/>
            </a:lvl3pPr>
            <a:lvl4pPr>
              <a:defRPr sz="1600" b="1">
                <a:solidFill>
                  <a:schemeClr val="tx2"/>
                </a:solidFill>
                <a:latin typeface="+mj-lt"/>
              </a:defRPr>
            </a:lvl4pPr>
            <a:lvl5pPr marL="0" indent="0">
              <a:buNone/>
              <a:defRPr b="1">
                <a:solidFill>
                  <a:schemeClr val="tx2"/>
                </a:solidFill>
                <a:latin typeface="+mj-lt"/>
              </a:defRPr>
            </a:lvl5pPr>
            <a:lvl6pPr marL="0" indent="0">
              <a:spcBef>
                <a:spcPts val="60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6pPr>
            <a:lvl7pPr>
              <a:defRPr sz="1600"/>
            </a:lvl7pPr>
            <a:lvl8pPr>
              <a:spcAft>
                <a:spcPts val="0"/>
              </a:spcAft>
              <a:defRPr sz="1600" b="0" cap="none" spc="0" baseline="0">
                <a:solidFill>
                  <a:schemeClr val="tx1"/>
                </a:solidFill>
                <a:latin typeface="+mn-lt"/>
              </a:defRPr>
            </a:lvl8pPr>
            <a:lvl9pPr>
              <a:spcBef>
                <a:spcPts val="600"/>
              </a:spcBef>
              <a:spcAft>
                <a:spcPts val="0"/>
              </a:spcAft>
              <a:defRPr sz="1600">
                <a:latin typeface="+mn-lt"/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</a:t>
            </a:r>
          </a:p>
          <a:p>
            <a:pPr lvl="6"/>
            <a:r>
              <a:rPr lang="de-DE"/>
              <a:t>Siebte</a:t>
            </a:r>
          </a:p>
          <a:p>
            <a:pPr lvl="7"/>
            <a:r>
              <a:rPr lang="de-DE"/>
              <a:t>Achte</a:t>
            </a:r>
          </a:p>
          <a:p>
            <a:pPr lvl="8"/>
            <a:r>
              <a:rPr lang="de-DE"/>
              <a:t>neunt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97501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399" y="1588654"/>
            <a:ext cx="3836357" cy="3780000"/>
          </a:xfrm>
          <a:noFill/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9420D374-CF7B-6362-4815-F1A812A8BE8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9399" y="5467928"/>
            <a:ext cx="10753198" cy="709036"/>
          </a:xfrm>
        </p:spPr>
        <p:txBody>
          <a:bodyPr/>
          <a:lstStyle>
            <a:lvl1pPr algn="r">
              <a:defRPr/>
            </a:lvl1pPr>
            <a:lvl2pPr marL="0" indent="0" algn="r">
              <a:buNone/>
              <a:defRPr sz="1400"/>
            </a:lvl2pPr>
            <a:lvl3pPr marL="0" indent="0" algn="r">
              <a:spcBef>
                <a:spcPts val="600"/>
              </a:spcBef>
              <a:buNone/>
              <a:defRPr sz="1200"/>
            </a:lvl3pPr>
            <a:lvl4pPr algn="r">
              <a:defRPr sz="1600" b="1">
                <a:solidFill>
                  <a:schemeClr val="tx2"/>
                </a:solidFill>
                <a:latin typeface="+mj-lt"/>
              </a:defRPr>
            </a:lvl4pPr>
            <a:lvl5pPr marL="0" indent="0" algn="r">
              <a:buNone/>
              <a:defRPr b="1">
                <a:solidFill>
                  <a:schemeClr val="tx2"/>
                </a:solidFill>
                <a:latin typeface="+mj-lt"/>
              </a:defRPr>
            </a:lvl5pPr>
            <a:lvl6pPr marL="0" indent="0" algn="r">
              <a:spcBef>
                <a:spcPts val="600"/>
              </a:spcBef>
              <a:buNone/>
              <a:defRPr sz="1200" b="1">
                <a:solidFill>
                  <a:schemeClr val="tx2"/>
                </a:solidFill>
                <a:latin typeface="+mj-lt"/>
              </a:defRPr>
            </a:lvl6pPr>
            <a:lvl7pPr algn="r">
              <a:defRPr sz="1600"/>
            </a:lvl7pPr>
            <a:lvl8pPr algn="r">
              <a:spcAft>
                <a:spcPts val="0"/>
              </a:spcAft>
              <a:defRPr sz="1600" b="0" cap="none" spc="0" baseline="0">
                <a:solidFill>
                  <a:schemeClr val="tx1"/>
                </a:solidFill>
                <a:latin typeface="+mn-lt"/>
              </a:defRPr>
            </a:lvl8pPr>
            <a:lvl9pPr algn="r">
              <a:spcBef>
                <a:spcPts val="600"/>
              </a:spcBef>
              <a:spcAft>
                <a:spcPts val="0"/>
              </a:spcAft>
              <a:defRPr sz="1600">
                <a:latin typeface="+mn-lt"/>
              </a:defRPr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</a:t>
            </a:r>
          </a:p>
          <a:p>
            <a:pPr lvl="6"/>
            <a:r>
              <a:rPr lang="de-DE"/>
              <a:t>Siebte</a:t>
            </a:r>
          </a:p>
          <a:p>
            <a:pPr lvl="7"/>
            <a:r>
              <a:rPr lang="de-DE"/>
              <a:t>Achte</a:t>
            </a:r>
          </a:p>
          <a:p>
            <a:pPr lvl="8"/>
            <a:r>
              <a:rPr lang="de-DE"/>
              <a:t>neunte</a:t>
            </a:r>
            <a:endParaRPr lang="de-CH"/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19824028-0824-DC06-EE0A-57862948463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752113" y="1588654"/>
            <a:ext cx="2720485" cy="1800000"/>
          </a:xfrm>
          <a:noFill/>
        </p:spPr>
        <p:txBody>
          <a:bodyPr/>
          <a:lstStyle/>
          <a:p>
            <a:endParaRPr lang="de-CH"/>
          </a:p>
        </p:txBody>
      </p:sp>
      <p:sp>
        <p:nvSpPr>
          <p:cNvPr id="14" name="Bildplatzhalter 6">
            <a:extLst>
              <a:ext uri="{FF2B5EF4-FFF2-40B4-BE49-F238E27FC236}">
                <a16:creationId xmlns:a16="http://schemas.microsoft.com/office/drawing/2014/main" id="{5477749C-A253-AB66-A24F-D42051DA8EB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752113" y="3568653"/>
            <a:ext cx="2720485" cy="1800000"/>
          </a:xfrm>
          <a:noFill/>
        </p:spPr>
        <p:txBody>
          <a:bodyPr/>
          <a:lstStyle/>
          <a:p>
            <a:endParaRPr lang="de-CH"/>
          </a:p>
        </p:txBody>
      </p:sp>
      <p:sp>
        <p:nvSpPr>
          <p:cNvPr id="15" name="Bildplatzhalter 6">
            <a:extLst>
              <a:ext uri="{FF2B5EF4-FFF2-40B4-BE49-F238E27FC236}">
                <a16:creationId xmlns:a16="http://schemas.microsoft.com/office/drawing/2014/main" id="{8F814476-DD3D-62D3-DE3B-6BE2FFF46A7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735756" y="1588654"/>
            <a:ext cx="3836357" cy="3780000"/>
          </a:xfrm>
          <a:noFill/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4911407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1588654"/>
            <a:ext cx="7108799" cy="458831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7" name="Bildplatzhalter 6">
            <a:extLst>
              <a:ext uri="{FF2B5EF4-FFF2-40B4-BE49-F238E27FC236}">
                <a16:creationId xmlns:a16="http://schemas.microsoft.com/office/drawing/2014/main" id="{FF3AE96C-EB9B-D733-73B8-6CEFBF12F2C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008201" y="1588654"/>
            <a:ext cx="3464402" cy="4588310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6199372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1588656"/>
            <a:ext cx="3464400" cy="3509817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D4D8E73D-FA72-0183-C8D7-872846DB098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63800" y="1588657"/>
            <a:ext cx="3464400" cy="3509817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3DAC1BAE-4389-CF9D-56A7-8A9AFC18D3B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08200" y="1588657"/>
            <a:ext cx="3464400" cy="3509817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5C1AE9-9C46-D5BF-821E-91F15A67734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9400" y="5269344"/>
            <a:ext cx="3464400" cy="9076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18D52A40-7F98-0248-4937-F4665837A6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3800" y="5269344"/>
            <a:ext cx="3464400" cy="90762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CH" dirty="0"/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1EED39CD-40FD-9184-008C-43F63B9F348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08200" y="5269344"/>
            <a:ext cx="3464400" cy="90762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3298909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1588656"/>
            <a:ext cx="3464400" cy="3509817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D4D8E73D-FA72-0183-C8D7-872846DB098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63800" y="1588656"/>
            <a:ext cx="3464400" cy="350981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3DAC1BAE-4389-CF9D-56A7-8A9AFC18D3B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08200" y="1588656"/>
            <a:ext cx="3464400" cy="350981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5C1AE9-9C46-D5BF-821E-91F15A67734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9400" y="5269344"/>
            <a:ext cx="3464400" cy="907620"/>
          </a:xfrm>
        </p:spPr>
        <p:txBody>
          <a:bodyPr/>
          <a:lstStyle>
            <a:lvl3pPr marL="216000" indent="0">
              <a:buNone/>
              <a:defRPr/>
            </a:lvl3pPr>
            <a:lvl5pPr>
              <a:defRPr/>
            </a:lvl5pPr>
            <a:lvl8pPr algn="ctr">
              <a:defRPr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18D52A40-7F98-0248-4937-F4665837A6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3800" y="5269344"/>
            <a:ext cx="3464400" cy="907620"/>
          </a:xfrm>
        </p:spPr>
        <p:txBody>
          <a:bodyPr/>
          <a:lstStyle>
            <a:lvl3pPr marL="216000" indent="0">
              <a:buNone/>
              <a:defRPr/>
            </a:lvl3pPr>
            <a:lvl5pPr>
              <a:defRPr/>
            </a:lvl5pPr>
            <a:lvl8pPr algn="ctr">
              <a:defRPr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1EED39CD-40FD-9184-008C-43F63B9F348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08200" y="5269344"/>
            <a:ext cx="3464400" cy="907620"/>
          </a:xfrm>
        </p:spPr>
        <p:txBody>
          <a:bodyPr/>
          <a:lstStyle>
            <a:lvl3pPr marL="216000" indent="0">
              <a:buNone/>
              <a:defRPr/>
            </a:lvl3pPr>
            <a:lvl5pPr>
              <a:defRPr/>
            </a:lvl5pPr>
            <a:lvl8pPr algn="ctr">
              <a:defRPr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7DBBAB0-116A-146B-C095-7369DF99D9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9401" y="1588656"/>
            <a:ext cx="3464400" cy="583043"/>
          </a:xfrm>
          <a:solidFill>
            <a:schemeClr val="tx2">
              <a:alpha val="80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platzhalter 10">
            <a:extLst>
              <a:ext uri="{FF2B5EF4-FFF2-40B4-BE49-F238E27FC236}">
                <a16:creationId xmlns:a16="http://schemas.microsoft.com/office/drawing/2014/main" id="{7EAF7E54-4289-7550-3414-7FA78C125BF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63801" y="1588656"/>
            <a:ext cx="3464400" cy="583043"/>
          </a:xfrm>
          <a:solidFill>
            <a:schemeClr val="tx2">
              <a:alpha val="80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10">
            <a:extLst>
              <a:ext uri="{FF2B5EF4-FFF2-40B4-BE49-F238E27FC236}">
                <a16:creationId xmlns:a16="http://schemas.microsoft.com/office/drawing/2014/main" id="{4FBD6550-8407-D6CA-1DC9-2E27693387C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008200" y="1588656"/>
            <a:ext cx="3464400" cy="583043"/>
          </a:xfrm>
          <a:solidFill>
            <a:schemeClr val="tx2">
              <a:alpha val="80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959566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5490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38CCFECA-7978-D051-BB72-9D7EF7108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400" y="1588656"/>
            <a:ext cx="6900599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C351BFB-3AFD-7E96-61BC-E3CE11FDB99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799999" y="1588656"/>
            <a:ext cx="4392001" cy="4588308"/>
          </a:xfrm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043256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2154784"/>
            <a:ext cx="3464400" cy="3377797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D4D8E73D-FA72-0183-C8D7-872846DB098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63800" y="2154784"/>
            <a:ext cx="3464400" cy="337779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0" name="Bildplatzhalter 6">
            <a:extLst>
              <a:ext uri="{FF2B5EF4-FFF2-40B4-BE49-F238E27FC236}">
                <a16:creationId xmlns:a16="http://schemas.microsoft.com/office/drawing/2014/main" id="{3DAC1BAE-4389-CF9D-56A7-8A9AFC18D3B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08200" y="2154784"/>
            <a:ext cx="3464400" cy="337779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A5C1AE9-9C46-D5BF-821E-91F15A67734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9400" y="5643418"/>
            <a:ext cx="3464400" cy="533546"/>
          </a:xfrm>
        </p:spPr>
        <p:txBody>
          <a:bodyPr/>
          <a:lstStyle>
            <a:lvl3pPr marL="216000" indent="0">
              <a:buNone/>
              <a:defRPr/>
            </a:lvl3pPr>
            <a:lvl5pPr>
              <a:defRPr/>
            </a:lvl5pPr>
            <a:lvl8pPr algn="ctr">
              <a:defRPr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4" name="Textplatzhalter 12">
            <a:extLst>
              <a:ext uri="{FF2B5EF4-FFF2-40B4-BE49-F238E27FC236}">
                <a16:creationId xmlns:a16="http://schemas.microsoft.com/office/drawing/2014/main" id="{18D52A40-7F98-0248-4937-F4665837A6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3800" y="5643418"/>
            <a:ext cx="3464400" cy="533546"/>
          </a:xfrm>
        </p:spPr>
        <p:txBody>
          <a:bodyPr/>
          <a:lstStyle>
            <a:lvl3pPr marL="216000" indent="0">
              <a:buNone/>
              <a:defRPr/>
            </a:lvl3pPr>
            <a:lvl5pPr>
              <a:defRPr/>
            </a:lvl5pPr>
            <a:lvl8pPr algn="ctr">
              <a:defRPr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5" name="Textplatzhalter 12">
            <a:extLst>
              <a:ext uri="{FF2B5EF4-FFF2-40B4-BE49-F238E27FC236}">
                <a16:creationId xmlns:a16="http://schemas.microsoft.com/office/drawing/2014/main" id="{1EED39CD-40FD-9184-008C-43F63B9F348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008200" y="5643418"/>
            <a:ext cx="3464400" cy="533546"/>
          </a:xfrm>
        </p:spPr>
        <p:txBody>
          <a:bodyPr/>
          <a:lstStyle>
            <a:lvl3pPr marL="216000" indent="0">
              <a:buNone/>
              <a:defRPr/>
            </a:lvl3pPr>
            <a:lvl5pPr>
              <a:defRPr/>
            </a:lvl5pPr>
            <a:lvl8pPr algn="ctr">
              <a:defRPr/>
            </a:lvl8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7DBBAB0-116A-146B-C095-7369DF99D97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19401" y="2154784"/>
            <a:ext cx="3464400" cy="583043"/>
          </a:xfrm>
          <a:solidFill>
            <a:schemeClr val="tx2">
              <a:alpha val="80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7" name="Textplatzhalter 10">
            <a:extLst>
              <a:ext uri="{FF2B5EF4-FFF2-40B4-BE49-F238E27FC236}">
                <a16:creationId xmlns:a16="http://schemas.microsoft.com/office/drawing/2014/main" id="{7EAF7E54-4289-7550-3414-7FA78C125BF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63801" y="2154784"/>
            <a:ext cx="3464400" cy="583043"/>
          </a:xfrm>
          <a:solidFill>
            <a:schemeClr val="tx2">
              <a:alpha val="80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8" name="Textplatzhalter 10">
            <a:extLst>
              <a:ext uri="{FF2B5EF4-FFF2-40B4-BE49-F238E27FC236}">
                <a16:creationId xmlns:a16="http://schemas.microsoft.com/office/drawing/2014/main" id="{4FBD6550-8407-D6CA-1DC9-2E27693387C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008200" y="2154784"/>
            <a:ext cx="3464400" cy="583043"/>
          </a:xfrm>
          <a:solidFill>
            <a:schemeClr val="tx2">
              <a:alpha val="80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800" b="1" cap="all" spc="70" baseline="0">
                <a:solidFill>
                  <a:schemeClr val="bg1"/>
                </a:solidFill>
                <a:latin typeface="+mj-lt"/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22EA76FD-556E-2758-D5FF-EDEAE489380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19400" y="1587600"/>
            <a:ext cx="10753200" cy="4064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5250678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1588656"/>
            <a:ext cx="5196600" cy="458830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C44D772C-24CA-2944-8EB1-A8690B38AF6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76000" y="1588656"/>
            <a:ext cx="5196600" cy="458830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0285616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98567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1588656"/>
            <a:ext cx="5196600" cy="3334326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C44D772C-24CA-2944-8EB1-A8690B38AF6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76000" y="1588656"/>
            <a:ext cx="5196600" cy="3334326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F0E355D-820E-C73A-4F87-99E159428F6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9400" y="5178427"/>
            <a:ext cx="10753200" cy="9985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Textplatzhalter 21">
            <a:extLst>
              <a:ext uri="{FF2B5EF4-FFF2-40B4-BE49-F238E27FC236}">
                <a16:creationId xmlns:a16="http://schemas.microsoft.com/office/drawing/2014/main" id="{986D29A7-EFB0-7474-4498-E6FD8FC3FC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9399" y="4598982"/>
            <a:ext cx="3960000" cy="324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6pPr>
            <a:lvl7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7pPr>
            <a:lvl8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none" spc="0" baseline="0">
                <a:solidFill>
                  <a:schemeClr val="bg1"/>
                </a:solidFill>
                <a:latin typeface="+mn-lt"/>
              </a:defRPr>
            </a:lvl8pPr>
            <a:lvl9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spc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2" name="Textplatzhalter 21">
            <a:extLst>
              <a:ext uri="{FF2B5EF4-FFF2-40B4-BE49-F238E27FC236}">
                <a16:creationId xmlns:a16="http://schemas.microsoft.com/office/drawing/2014/main" id="{DE3A2276-4AB5-CA7C-68CF-6783BCDC0C8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75999" y="4598982"/>
            <a:ext cx="3960000" cy="324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6pPr>
            <a:lvl7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7pPr>
            <a:lvl8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none" spc="0" baseline="0">
                <a:solidFill>
                  <a:schemeClr val="bg1"/>
                </a:solidFill>
                <a:latin typeface="+mn-lt"/>
              </a:defRPr>
            </a:lvl8pPr>
            <a:lvl9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spc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29215397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0756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9400" y="1588656"/>
            <a:ext cx="5196600" cy="458830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05D378F-E0F1-6402-9CDA-98F867F294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6000" y="1588656"/>
            <a:ext cx="5196600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8740363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3885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05D378F-E0F1-6402-9CDA-98F867F294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9400" y="1588656"/>
            <a:ext cx="5196600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76000" y="1588656"/>
            <a:ext cx="5196600" cy="4588308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05985499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8559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5016600" cy="1080656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05D378F-E0F1-6402-9CDA-98F867F294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9400" y="1588656"/>
            <a:ext cx="5016600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176964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696061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Frei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4841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399" y="0"/>
            <a:ext cx="5505909" cy="1080656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05D378F-E0F1-6402-9CDA-98F867F294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9400" y="1588656"/>
            <a:ext cx="5376600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9602765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Frei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4841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399" y="0"/>
            <a:ext cx="5505909" cy="1080656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05D378F-E0F1-6402-9CDA-98F867F294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9400" y="1588657"/>
            <a:ext cx="5376600" cy="396577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3F4929B-EF2D-CB42-F0AD-CD5195B3DF1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95820" y="323672"/>
            <a:ext cx="1025807" cy="1150931"/>
          </a:xfrm>
        </p:spPr>
        <p:txBody>
          <a:bodyPr/>
          <a:lstStyle/>
          <a:p>
            <a:endParaRPr lang="de-CH"/>
          </a:p>
        </p:txBody>
      </p:sp>
      <p:sp>
        <p:nvSpPr>
          <p:cNvPr id="29" name="Bildplatzhalter 6">
            <a:extLst>
              <a:ext uri="{FF2B5EF4-FFF2-40B4-BE49-F238E27FC236}">
                <a16:creationId xmlns:a16="http://schemas.microsoft.com/office/drawing/2014/main" id="{B408E2B6-E615-7498-2C3C-90072CFEF79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95820" y="1564603"/>
            <a:ext cx="1769678" cy="974152"/>
          </a:xfrm>
        </p:spPr>
        <p:txBody>
          <a:bodyPr/>
          <a:lstStyle/>
          <a:p>
            <a:endParaRPr lang="de-CH"/>
          </a:p>
        </p:txBody>
      </p:sp>
      <p:sp>
        <p:nvSpPr>
          <p:cNvPr id="31" name="Bildplatzhalter 6">
            <a:extLst>
              <a:ext uri="{FF2B5EF4-FFF2-40B4-BE49-F238E27FC236}">
                <a16:creationId xmlns:a16="http://schemas.microsoft.com/office/drawing/2014/main" id="{EFEA0139-FECF-EE00-F902-4D611CB42F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395820" y="3692907"/>
            <a:ext cx="1304759" cy="1075055"/>
          </a:xfrm>
        </p:spPr>
        <p:txBody>
          <a:bodyPr/>
          <a:lstStyle/>
          <a:p>
            <a:endParaRPr lang="de-CH"/>
          </a:p>
        </p:txBody>
      </p:sp>
      <p:sp>
        <p:nvSpPr>
          <p:cNvPr id="32" name="Bildplatzhalter 6">
            <a:extLst>
              <a:ext uri="{FF2B5EF4-FFF2-40B4-BE49-F238E27FC236}">
                <a16:creationId xmlns:a16="http://schemas.microsoft.com/office/drawing/2014/main" id="{DA0A911F-4116-DF25-AEB4-B27ABE05CD0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395820" y="4857963"/>
            <a:ext cx="1457453" cy="696470"/>
          </a:xfrm>
        </p:spPr>
        <p:txBody>
          <a:bodyPr/>
          <a:lstStyle/>
          <a:p>
            <a:endParaRPr lang="de-CH"/>
          </a:p>
        </p:txBody>
      </p:sp>
      <p:sp>
        <p:nvSpPr>
          <p:cNvPr id="42" name="Bildplatzhalter 6">
            <a:extLst>
              <a:ext uri="{FF2B5EF4-FFF2-40B4-BE49-F238E27FC236}">
                <a16:creationId xmlns:a16="http://schemas.microsoft.com/office/drawing/2014/main" id="{C8059DE0-3553-376C-92AA-8C59C57B682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943273" y="4857963"/>
            <a:ext cx="633880" cy="696470"/>
          </a:xfrm>
        </p:spPr>
        <p:txBody>
          <a:bodyPr/>
          <a:lstStyle/>
          <a:p>
            <a:endParaRPr lang="de-CH"/>
          </a:p>
        </p:txBody>
      </p:sp>
      <p:sp>
        <p:nvSpPr>
          <p:cNvPr id="43" name="Bildplatzhalter 6">
            <a:extLst>
              <a:ext uri="{FF2B5EF4-FFF2-40B4-BE49-F238E27FC236}">
                <a16:creationId xmlns:a16="http://schemas.microsoft.com/office/drawing/2014/main" id="{E0E53CFD-ADF7-AA2A-F501-D4960CEE6407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667155" y="4857963"/>
            <a:ext cx="827828" cy="696470"/>
          </a:xfrm>
        </p:spPr>
        <p:txBody>
          <a:bodyPr/>
          <a:lstStyle/>
          <a:p>
            <a:endParaRPr lang="de-CH"/>
          </a:p>
        </p:txBody>
      </p:sp>
      <p:sp>
        <p:nvSpPr>
          <p:cNvPr id="46" name="Bildplatzhalter 6">
            <a:extLst>
              <a:ext uri="{FF2B5EF4-FFF2-40B4-BE49-F238E27FC236}">
                <a16:creationId xmlns:a16="http://schemas.microsoft.com/office/drawing/2014/main" id="{5AA5E777-E026-63D9-6A7E-E0D2DA88D664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7790580" y="3692907"/>
            <a:ext cx="1304759" cy="1075055"/>
          </a:xfrm>
        </p:spPr>
        <p:txBody>
          <a:bodyPr/>
          <a:lstStyle/>
          <a:p>
            <a:endParaRPr lang="de-CH"/>
          </a:p>
        </p:txBody>
      </p:sp>
      <p:sp>
        <p:nvSpPr>
          <p:cNvPr id="47" name="Bildplatzhalter 6">
            <a:extLst>
              <a:ext uri="{FF2B5EF4-FFF2-40B4-BE49-F238E27FC236}">
                <a16:creationId xmlns:a16="http://schemas.microsoft.com/office/drawing/2014/main" id="{1A1B2ABF-50A4-8422-250B-1A16B05F9EDF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185338" y="3692907"/>
            <a:ext cx="1304759" cy="1075055"/>
          </a:xfrm>
        </p:spPr>
        <p:txBody>
          <a:bodyPr/>
          <a:lstStyle/>
          <a:p>
            <a:endParaRPr lang="de-CH"/>
          </a:p>
        </p:txBody>
      </p:sp>
      <p:sp>
        <p:nvSpPr>
          <p:cNvPr id="48" name="Bildplatzhalter 6">
            <a:extLst>
              <a:ext uri="{FF2B5EF4-FFF2-40B4-BE49-F238E27FC236}">
                <a16:creationId xmlns:a16="http://schemas.microsoft.com/office/drawing/2014/main" id="{A8348DCA-5D20-9B51-2378-D306646C64A9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10580096" y="3692907"/>
            <a:ext cx="1304759" cy="1075055"/>
          </a:xfrm>
        </p:spPr>
        <p:txBody>
          <a:bodyPr/>
          <a:lstStyle/>
          <a:p>
            <a:endParaRPr lang="de-CH"/>
          </a:p>
        </p:txBody>
      </p:sp>
      <p:sp>
        <p:nvSpPr>
          <p:cNvPr id="49" name="Bildplatzhalter 6">
            <a:extLst>
              <a:ext uri="{FF2B5EF4-FFF2-40B4-BE49-F238E27FC236}">
                <a16:creationId xmlns:a16="http://schemas.microsoft.com/office/drawing/2014/main" id="{8516FB8D-C893-3F16-CE3D-09DFCD46BC6D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255498" y="1564603"/>
            <a:ext cx="1769678" cy="2038304"/>
          </a:xfrm>
        </p:spPr>
        <p:txBody>
          <a:bodyPr/>
          <a:lstStyle/>
          <a:p>
            <a:endParaRPr lang="de-CH"/>
          </a:p>
        </p:txBody>
      </p:sp>
      <p:sp>
        <p:nvSpPr>
          <p:cNvPr id="50" name="Bildplatzhalter 6">
            <a:extLst>
              <a:ext uri="{FF2B5EF4-FFF2-40B4-BE49-F238E27FC236}">
                <a16:creationId xmlns:a16="http://schemas.microsoft.com/office/drawing/2014/main" id="{B08229A4-B2B7-B559-47D3-BDBAA7C11AAB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10115176" y="1564603"/>
            <a:ext cx="1769678" cy="2038304"/>
          </a:xfrm>
        </p:spPr>
        <p:txBody>
          <a:bodyPr/>
          <a:lstStyle/>
          <a:p>
            <a:endParaRPr lang="de-CH"/>
          </a:p>
        </p:txBody>
      </p:sp>
      <p:sp>
        <p:nvSpPr>
          <p:cNvPr id="51" name="Bildplatzhalter 6">
            <a:extLst>
              <a:ext uri="{FF2B5EF4-FFF2-40B4-BE49-F238E27FC236}">
                <a16:creationId xmlns:a16="http://schemas.microsoft.com/office/drawing/2014/main" id="{B5156C12-6731-868B-19D7-C6D24C6400B5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7511626" y="323672"/>
            <a:ext cx="2141615" cy="1150931"/>
          </a:xfrm>
        </p:spPr>
        <p:txBody>
          <a:bodyPr/>
          <a:lstStyle/>
          <a:p>
            <a:endParaRPr lang="de-CH"/>
          </a:p>
        </p:txBody>
      </p:sp>
      <p:sp>
        <p:nvSpPr>
          <p:cNvPr id="53" name="Bildplatzhalter 6">
            <a:extLst>
              <a:ext uri="{FF2B5EF4-FFF2-40B4-BE49-F238E27FC236}">
                <a16:creationId xmlns:a16="http://schemas.microsoft.com/office/drawing/2014/main" id="{C7A1A0BB-537F-AA3A-E9CB-5370BF03BD94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743242" y="323672"/>
            <a:ext cx="1025807" cy="1150931"/>
          </a:xfrm>
        </p:spPr>
        <p:txBody>
          <a:bodyPr/>
          <a:lstStyle/>
          <a:p>
            <a:endParaRPr lang="de-CH"/>
          </a:p>
        </p:txBody>
      </p:sp>
      <p:sp>
        <p:nvSpPr>
          <p:cNvPr id="54" name="Bildplatzhalter 6">
            <a:extLst>
              <a:ext uri="{FF2B5EF4-FFF2-40B4-BE49-F238E27FC236}">
                <a16:creationId xmlns:a16="http://schemas.microsoft.com/office/drawing/2014/main" id="{491EF4FE-4073-9A31-31E5-5A63FBE39D18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10859048" y="323672"/>
            <a:ext cx="1025807" cy="1150931"/>
          </a:xfrm>
        </p:spPr>
        <p:txBody>
          <a:bodyPr/>
          <a:lstStyle/>
          <a:p>
            <a:endParaRPr lang="de-CH"/>
          </a:p>
        </p:txBody>
      </p:sp>
      <p:sp>
        <p:nvSpPr>
          <p:cNvPr id="55" name="Bildplatzhalter 6">
            <a:extLst>
              <a:ext uri="{FF2B5EF4-FFF2-40B4-BE49-F238E27FC236}">
                <a16:creationId xmlns:a16="http://schemas.microsoft.com/office/drawing/2014/main" id="{9A08401D-1C9E-E896-7DB5-52A3389D1C20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9584982" y="4857963"/>
            <a:ext cx="916752" cy="696470"/>
          </a:xfrm>
        </p:spPr>
        <p:txBody>
          <a:bodyPr/>
          <a:lstStyle/>
          <a:p>
            <a:endParaRPr lang="de-CH"/>
          </a:p>
        </p:txBody>
      </p:sp>
      <p:sp>
        <p:nvSpPr>
          <p:cNvPr id="56" name="Bildplatzhalter 6">
            <a:extLst>
              <a:ext uri="{FF2B5EF4-FFF2-40B4-BE49-F238E27FC236}">
                <a16:creationId xmlns:a16="http://schemas.microsoft.com/office/drawing/2014/main" id="{702C346D-32A1-4414-87C7-119C4B42949A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10591735" y="4857963"/>
            <a:ext cx="1293122" cy="696470"/>
          </a:xfrm>
        </p:spPr>
        <p:txBody>
          <a:bodyPr/>
          <a:lstStyle/>
          <a:p>
            <a:endParaRPr lang="de-CH"/>
          </a:p>
        </p:txBody>
      </p:sp>
      <p:sp>
        <p:nvSpPr>
          <p:cNvPr id="63" name="Bildplatzhalter 6">
            <a:extLst>
              <a:ext uri="{FF2B5EF4-FFF2-40B4-BE49-F238E27FC236}">
                <a16:creationId xmlns:a16="http://schemas.microsoft.com/office/drawing/2014/main" id="{4E3F5442-4550-61CA-CE15-FA539EC1B131}"/>
              </a:ext>
            </a:extLst>
          </p:cNvPr>
          <p:cNvSpPr>
            <a:spLocks noGrp="1"/>
          </p:cNvSpPr>
          <p:nvPr>
            <p:ph type="pic" sz="quarter" idx="37"/>
          </p:nvPr>
        </p:nvSpPr>
        <p:spPr>
          <a:xfrm>
            <a:off x="6395820" y="2628755"/>
            <a:ext cx="1769678" cy="974152"/>
          </a:xfrm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7400979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8559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5016600" cy="1080656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05D378F-E0F1-6402-9CDA-98F867F294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9400" y="1588656"/>
            <a:ext cx="5016600" cy="458830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5pPr>
              <a:defRPr/>
            </a:lvl5pPr>
            <a:lvl6pPr marL="360000" indent="-180000">
              <a:spcBef>
                <a:spcPts val="300"/>
              </a:spcBef>
              <a:buFont typeface="Symbol" panose="05050102010706020507" pitchFamily="18" charset="2"/>
              <a:buChar char="-"/>
              <a:defRPr sz="1400"/>
            </a:lvl6pPr>
            <a:lvl7pPr marL="216000" indent="-216000">
              <a:spcBef>
                <a:spcPts val="1800"/>
              </a:spcBef>
              <a:buFont typeface="Arial" panose="020B0604020202020204" pitchFamily="34" charset="0"/>
              <a:buChar char="•"/>
              <a:defRPr/>
            </a:lvl7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  <a:p>
            <a:pPr lvl="5"/>
            <a:r>
              <a:rPr lang="de-DE"/>
              <a:t>Sechste Ebene</a:t>
            </a:r>
          </a:p>
          <a:p>
            <a:pPr lvl="6"/>
            <a:r>
              <a:rPr lang="de-DE"/>
              <a:t>Siebte Ebene</a:t>
            </a:r>
          </a:p>
          <a:p>
            <a:pPr lvl="7"/>
            <a:r>
              <a:rPr lang="de-DE"/>
              <a:t>Achte Ebene</a:t>
            </a:r>
          </a:p>
          <a:p>
            <a:pPr lvl="8"/>
            <a:r>
              <a:rPr lang="de-DE"/>
              <a:t>Neun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308848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334BC1DD-CBD8-0F3D-8BCD-4DB9F2D42EA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8482"/>
            <a:ext cx="6096000" cy="308848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9678205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3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208B9D6-B665-DA64-9119-90C16290B0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78559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208B9D6-B665-DA64-9119-90C16290B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AF5477F1-685A-050B-C884-19C4151AD1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5016600" cy="1080656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05D378F-E0F1-6402-9CDA-98F867F2947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9400" y="1588656"/>
            <a:ext cx="5016600" cy="458830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B2CABD9-7995-4009-967C-95AECB30DB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63C827E-846A-FDCF-D32F-3C0ADF428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7C4A7A5-EAEC-189E-593F-6866E3318E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‹#›</a:t>
            </a:fld>
            <a:endParaRPr lang="de-CH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94B973F4-78C9-44FD-FAFB-FDF382F1E74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308848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A3425794-49E8-B9BB-B513-61F4A128EB4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3088482"/>
            <a:ext cx="3048000" cy="308848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2" name="Bildplatzhalter 6">
            <a:extLst>
              <a:ext uri="{FF2B5EF4-FFF2-40B4-BE49-F238E27FC236}">
                <a16:creationId xmlns:a16="http://schemas.microsoft.com/office/drawing/2014/main" id="{6E4E7886-214B-68B2-0407-146D4692810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4000" y="3088482"/>
            <a:ext cx="3048000" cy="3088482"/>
          </a:xfrm>
          <a:pattFill prst="wdUpDiag">
            <a:fgClr>
              <a:schemeClr val="bg2"/>
            </a:fgClr>
            <a:bgClr>
              <a:schemeClr val="bg1"/>
            </a:bgClr>
          </a:pattFill>
        </p:spPr>
        <p:txBody>
          <a:bodyPr/>
          <a:lstStyle/>
          <a:p>
            <a:endParaRPr lang="de-CH"/>
          </a:p>
        </p:txBody>
      </p:sp>
      <p:sp>
        <p:nvSpPr>
          <p:cNvPr id="13" name="Textplatzhalter 21">
            <a:extLst>
              <a:ext uri="{FF2B5EF4-FFF2-40B4-BE49-F238E27FC236}">
                <a16:creationId xmlns:a16="http://schemas.microsoft.com/office/drawing/2014/main" id="{FCF2FA91-7958-5123-871D-86843135C3A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2764482"/>
            <a:ext cx="1252900" cy="324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6pPr>
            <a:lvl7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7pPr>
            <a:lvl8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none" spc="0" baseline="0">
                <a:solidFill>
                  <a:schemeClr val="bg1"/>
                </a:solidFill>
                <a:latin typeface="+mn-lt"/>
              </a:defRPr>
            </a:lvl8pPr>
            <a:lvl9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spc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4" name="Textplatzhalter 21">
            <a:extLst>
              <a:ext uri="{FF2B5EF4-FFF2-40B4-BE49-F238E27FC236}">
                <a16:creationId xmlns:a16="http://schemas.microsoft.com/office/drawing/2014/main" id="{AEF9E182-85E0-C3B9-05F9-22B428E3BEB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144000" y="5852964"/>
            <a:ext cx="1252900" cy="324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6pPr>
            <a:lvl7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7pPr>
            <a:lvl8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none" spc="0" baseline="0">
                <a:solidFill>
                  <a:schemeClr val="bg1"/>
                </a:solidFill>
                <a:latin typeface="+mn-lt"/>
              </a:defRPr>
            </a:lvl8pPr>
            <a:lvl9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spc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  <p:sp>
        <p:nvSpPr>
          <p:cNvPr id="15" name="Textplatzhalter 21">
            <a:extLst>
              <a:ext uri="{FF2B5EF4-FFF2-40B4-BE49-F238E27FC236}">
                <a16:creationId xmlns:a16="http://schemas.microsoft.com/office/drawing/2014/main" id="{7BE35BC1-57C7-4BD3-8FDC-E0A5BB09923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096000" y="5852964"/>
            <a:ext cx="1252900" cy="324000"/>
          </a:xfrm>
          <a:solidFill>
            <a:schemeClr val="tx2">
              <a:alpha val="80000"/>
            </a:schemeClr>
          </a:solidFill>
        </p:spPr>
        <p:txBody>
          <a:bodyPr wrap="square" lIns="180000" tIns="180000" rIns="180000" bIns="180000" anchor="ctr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3pPr>
            <a:lvl4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200" b="0" spc="0">
                <a:solidFill>
                  <a:schemeClr val="bg1"/>
                </a:solidFill>
                <a:latin typeface="+mn-lt"/>
              </a:defRPr>
            </a:lvl6pPr>
            <a:lvl7pPr algn="l">
              <a:lnSpc>
                <a:spcPct val="100000"/>
              </a:lnSpc>
              <a:spcBef>
                <a:spcPts val="0"/>
              </a:spcBef>
              <a:defRPr sz="1200" b="0" spc="0">
                <a:solidFill>
                  <a:schemeClr val="bg1"/>
                </a:solidFill>
                <a:latin typeface="+mn-lt"/>
              </a:defRPr>
            </a:lvl7pPr>
            <a:lvl8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cap="none" spc="0" baseline="0">
                <a:solidFill>
                  <a:schemeClr val="bg1"/>
                </a:solidFill>
                <a:latin typeface="+mn-lt"/>
              </a:defRPr>
            </a:lvl8pPr>
            <a:lvl9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0" spc="0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de-DE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1641621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87.xml"/><Relationship Id="rId21" Type="http://schemas.openxmlformats.org/officeDocument/2006/relationships/slideLayout" Target="../slideLayouts/slideLayout82.xml"/><Relationship Id="rId34" Type="http://schemas.openxmlformats.org/officeDocument/2006/relationships/slideLayout" Target="../slideLayouts/slideLayout95.xml"/><Relationship Id="rId42" Type="http://schemas.openxmlformats.org/officeDocument/2006/relationships/slideLayout" Target="../slideLayouts/slideLayout103.xml"/><Relationship Id="rId47" Type="http://schemas.openxmlformats.org/officeDocument/2006/relationships/slideLayout" Target="../slideLayouts/slideLayout108.xml"/><Relationship Id="rId50" Type="http://schemas.openxmlformats.org/officeDocument/2006/relationships/slideLayout" Target="../slideLayouts/slideLayout111.xml"/><Relationship Id="rId55" Type="http://schemas.openxmlformats.org/officeDocument/2006/relationships/slideLayout" Target="../slideLayouts/slideLayout116.xml"/><Relationship Id="rId63" Type="http://schemas.openxmlformats.org/officeDocument/2006/relationships/tags" Target="../tags/tag63.xml"/><Relationship Id="rId7" Type="http://schemas.openxmlformats.org/officeDocument/2006/relationships/slideLayout" Target="../slideLayouts/slideLayout68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9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72.xml"/><Relationship Id="rId24" Type="http://schemas.openxmlformats.org/officeDocument/2006/relationships/slideLayout" Target="../slideLayouts/slideLayout85.xml"/><Relationship Id="rId32" Type="http://schemas.openxmlformats.org/officeDocument/2006/relationships/slideLayout" Target="../slideLayouts/slideLayout93.xml"/><Relationship Id="rId37" Type="http://schemas.openxmlformats.org/officeDocument/2006/relationships/slideLayout" Target="../slideLayouts/slideLayout98.xml"/><Relationship Id="rId40" Type="http://schemas.openxmlformats.org/officeDocument/2006/relationships/slideLayout" Target="../slideLayouts/slideLayout101.xml"/><Relationship Id="rId45" Type="http://schemas.openxmlformats.org/officeDocument/2006/relationships/slideLayout" Target="../slideLayouts/slideLayout106.xml"/><Relationship Id="rId53" Type="http://schemas.openxmlformats.org/officeDocument/2006/relationships/slideLayout" Target="../slideLayouts/slideLayout114.xml"/><Relationship Id="rId58" Type="http://schemas.openxmlformats.org/officeDocument/2006/relationships/slideLayout" Target="../slideLayouts/slideLayout119.xml"/><Relationship Id="rId66" Type="http://schemas.openxmlformats.org/officeDocument/2006/relationships/image" Target="../media/image2.png"/><Relationship Id="rId5" Type="http://schemas.openxmlformats.org/officeDocument/2006/relationships/slideLayout" Target="../slideLayouts/slideLayout66.xml"/><Relationship Id="rId61" Type="http://schemas.openxmlformats.org/officeDocument/2006/relationships/slideLayout" Target="../slideLayouts/slideLayout122.xml"/><Relationship Id="rId1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75.xml"/><Relationship Id="rId22" Type="http://schemas.openxmlformats.org/officeDocument/2006/relationships/slideLayout" Target="../slideLayouts/slideLayout83.xml"/><Relationship Id="rId27" Type="http://schemas.openxmlformats.org/officeDocument/2006/relationships/slideLayout" Target="../slideLayouts/slideLayout88.xml"/><Relationship Id="rId30" Type="http://schemas.openxmlformats.org/officeDocument/2006/relationships/slideLayout" Target="../slideLayouts/slideLayout91.xml"/><Relationship Id="rId35" Type="http://schemas.openxmlformats.org/officeDocument/2006/relationships/slideLayout" Target="../slideLayouts/slideLayout96.xml"/><Relationship Id="rId43" Type="http://schemas.openxmlformats.org/officeDocument/2006/relationships/slideLayout" Target="../slideLayouts/slideLayout104.xml"/><Relationship Id="rId48" Type="http://schemas.openxmlformats.org/officeDocument/2006/relationships/slideLayout" Target="../slideLayouts/slideLayout109.xml"/><Relationship Id="rId56" Type="http://schemas.openxmlformats.org/officeDocument/2006/relationships/slideLayout" Target="../slideLayouts/slideLayout117.xml"/><Relationship Id="rId64" Type="http://schemas.openxmlformats.org/officeDocument/2006/relationships/oleObject" Target="../embeddings/oleObject61.bin"/><Relationship Id="rId8" Type="http://schemas.openxmlformats.org/officeDocument/2006/relationships/slideLayout" Target="../slideLayouts/slideLayout69.xml"/><Relationship Id="rId51" Type="http://schemas.openxmlformats.org/officeDocument/2006/relationships/slideLayout" Target="../slideLayouts/slideLayout112.xml"/><Relationship Id="rId3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5" Type="http://schemas.openxmlformats.org/officeDocument/2006/relationships/slideLayout" Target="../slideLayouts/slideLayout86.xml"/><Relationship Id="rId33" Type="http://schemas.openxmlformats.org/officeDocument/2006/relationships/slideLayout" Target="../slideLayouts/slideLayout94.xml"/><Relationship Id="rId38" Type="http://schemas.openxmlformats.org/officeDocument/2006/relationships/slideLayout" Target="../slideLayouts/slideLayout99.xml"/><Relationship Id="rId46" Type="http://schemas.openxmlformats.org/officeDocument/2006/relationships/slideLayout" Target="../slideLayouts/slideLayout107.xml"/><Relationship Id="rId59" Type="http://schemas.openxmlformats.org/officeDocument/2006/relationships/slideLayout" Target="../slideLayouts/slideLayout120.xml"/><Relationship Id="rId20" Type="http://schemas.openxmlformats.org/officeDocument/2006/relationships/slideLayout" Target="../slideLayouts/slideLayout81.xml"/><Relationship Id="rId41" Type="http://schemas.openxmlformats.org/officeDocument/2006/relationships/slideLayout" Target="../slideLayouts/slideLayout102.xml"/><Relationship Id="rId54" Type="http://schemas.openxmlformats.org/officeDocument/2006/relationships/slideLayout" Target="../slideLayouts/slideLayout115.xml"/><Relationship Id="rId62" Type="http://schemas.openxmlformats.org/officeDocument/2006/relationships/theme" Target="../theme/theme2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6.xml"/><Relationship Id="rId23" Type="http://schemas.openxmlformats.org/officeDocument/2006/relationships/slideLayout" Target="../slideLayouts/slideLayout84.xml"/><Relationship Id="rId28" Type="http://schemas.openxmlformats.org/officeDocument/2006/relationships/slideLayout" Target="../slideLayouts/slideLayout89.xml"/><Relationship Id="rId36" Type="http://schemas.openxmlformats.org/officeDocument/2006/relationships/slideLayout" Target="../slideLayouts/slideLayout97.xml"/><Relationship Id="rId49" Type="http://schemas.openxmlformats.org/officeDocument/2006/relationships/slideLayout" Target="../slideLayouts/slideLayout110.xml"/><Relationship Id="rId57" Type="http://schemas.openxmlformats.org/officeDocument/2006/relationships/slideLayout" Target="../slideLayouts/slideLayout118.xml"/><Relationship Id="rId10" Type="http://schemas.openxmlformats.org/officeDocument/2006/relationships/slideLayout" Target="../slideLayouts/slideLayout71.xml"/><Relationship Id="rId31" Type="http://schemas.openxmlformats.org/officeDocument/2006/relationships/slideLayout" Target="../slideLayouts/slideLayout92.xml"/><Relationship Id="rId44" Type="http://schemas.openxmlformats.org/officeDocument/2006/relationships/slideLayout" Target="../slideLayouts/slideLayout105.xml"/><Relationship Id="rId52" Type="http://schemas.openxmlformats.org/officeDocument/2006/relationships/slideLayout" Target="../slideLayouts/slideLayout113.xml"/><Relationship Id="rId60" Type="http://schemas.openxmlformats.org/officeDocument/2006/relationships/slideLayout" Target="../slideLayouts/slideLayout121.xml"/><Relationship Id="rId65" Type="http://schemas.openxmlformats.org/officeDocument/2006/relationships/image" Target="../media/image1.emf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39" Type="http://schemas.openxmlformats.org/officeDocument/2006/relationships/slideLayout" Target="../slideLayouts/slideLayout100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5.xml"/><Relationship Id="rId18" Type="http://schemas.openxmlformats.org/officeDocument/2006/relationships/slideLayout" Target="../slideLayouts/slideLayout140.xml"/><Relationship Id="rId26" Type="http://schemas.openxmlformats.org/officeDocument/2006/relationships/slideLayout" Target="../slideLayouts/slideLayout148.xml"/><Relationship Id="rId39" Type="http://schemas.openxmlformats.org/officeDocument/2006/relationships/slideLayout" Target="../slideLayouts/slideLayout161.xml"/><Relationship Id="rId21" Type="http://schemas.openxmlformats.org/officeDocument/2006/relationships/slideLayout" Target="../slideLayouts/slideLayout143.xml"/><Relationship Id="rId34" Type="http://schemas.openxmlformats.org/officeDocument/2006/relationships/slideLayout" Target="../slideLayouts/slideLayout156.xml"/><Relationship Id="rId42" Type="http://schemas.openxmlformats.org/officeDocument/2006/relationships/slideLayout" Target="../slideLayouts/slideLayout164.xml"/><Relationship Id="rId47" Type="http://schemas.openxmlformats.org/officeDocument/2006/relationships/slideLayout" Target="../slideLayouts/slideLayout169.xml"/><Relationship Id="rId50" Type="http://schemas.openxmlformats.org/officeDocument/2006/relationships/oleObject" Target="../embeddings/oleObject122.bin"/><Relationship Id="rId7" Type="http://schemas.openxmlformats.org/officeDocument/2006/relationships/slideLayout" Target="../slideLayouts/slideLayout129.xml"/><Relationship Id="rId2" Type="http://schemas.openxmlformats.org/officeDocument/2006/relationships/slideLayout" Target="../slideLayouts/slideLayout124.xml"/><Relationship Id="rId16" Type="http://schemas.openxmlformats.org/officeDocument/2006/relationships/slideLayout" Target="../slideLayouts/slideLayout138.xml"/><Relationship Id="rId29" Type="http://schemas.openxmlformats.org/officeDocument/2006/relationships/slideLayout" Target="../slideLayouts/slideLayout151.xml"/><Relationship Id="rId11" Type="http://schemas.openxmlformats.org/officeDocument/2006/relationships/slideLayout" Target="../slideLayouts/slideLayout133.xml"/><Relationship Id="rId24" Type="http://schemas.openxmlformats.org/officeDocument/2006/relationships/slideLayout" Target="../slideLayouts/slideLayout146.xml"/><Relationship Id="rId32" Type="http://schemas.openxmlformats.org/officeDocument/2006/relationships/slideLayout" Target="../slideLayouts/slideLayout154.xml"/><Relationship Id="rId37" Type="http://schemas.openxmlformats.org/officeDocument/2006/relationships/slideLayout" Target="../slideLayouts/slideLayout159.xml"/><Relationship Id="rId40" Type="http://schemas.openxmlformats.org/officeDocument/2006/relationships/slideLayout" Target="../slideLayouts/slideLayout162.xml"/><Relationship Id="rId45" Type="http://schemas.openxmlformats.org/officeDocument/2006/relationships/slideLayout" Target="../slideLayouts/slideLayout167.xml"/><Relationship Id="rId5" Type="http://schemas.openxmlformats.org/officeDocument/2006/relationships/slideLayout" Target="../slideLayouts/slideLayout127.xml"/><Relationship Id="rId15" Type="http://schemas.openxmlformats.org/officeDocument/2006/relationships/slideLayout" Target="../slideLayouts/slideLayout137.xml"/><Relationship Id="rId23" Type="http://schemas.openxmlformats.org/officeDocument/2006/relationships/slideLayout" Target="../slideLayouts/slideLayout145.xml"/><Relationship Id="rId28" Type="http://schemas.openxmlformats.org/officeDocument/2006/relationships/slideLayout" Target="../slideLayouts/slideLayout150.xml"/><Relationship Id="rId36" Type="http://schemas.openxmlformats.org/officeDocument/2006/relationships/slideLayout" Target="../slideLayouts/slideLayout158.xml"/><Relationship Id="rId49" Type="http://schemas.openxmlformats.org/officeDocument/2006/relationships/tags" Target="../tags/tag124.xml"/><Relationship Id="rId10" Type="http://schemas.openxmlformats.org/officeDocument/2006/relationships/slideLayout" Target="../slideLayouts/slideLayout132.xml"/><Relationship Id="rId19" Type="http://schemas.openxmlformats.org/officeDocument/2006/relationships/slideLayout" Target="../slideLayouts/slideLayout141.xml"/><Relationship Id="rId31" Type="http://schemas.openxmlformats.org/officeDocument/2006/relationships/slideLayout" Target="../slideLayouts/slideLayout153.xml"/><Relationship Id="rId44" Type="http://schemas.openxmlformats.org/officeDocument/2006/relationships/slideLayout" Target="../slideLayouts/slideLayout166.xml"/><Relationship Id="rId52" Type="http://schemas.openxmlformats.org/officeDocument/2006/relationships/image" Target="../media/image7.png"/><Relationship Id="rId4" Type="http://schemas.openxmlformats.org/officeDocument/2006/relationships/slideLayout" Target="../slideLayouts/slideLayout126.xml"/><Relationship Id="rId9" Type="http://schemas.openxmlformats.org/officeDocument/2006/relationships/slideLayout" Target="../slideLayouts/slideLayout131.xml"/><Relationship Id="rId14" Type="http://schemas.openxmlformats.org/officeDocument/2006/relationships/slideLayout" Target="../slideLayouts/slideLayout136.xml"/><Relationship Id="rId22" Type="http://schemas.openxmlformats.org/officeDocument/2006/relationships/slideLayout" Target="../slideLayouts/slideLayout144.xml"/><Relationship Id="rId27" Type="http://schemas.openxmlformats.org/officeDocument/2006/relationships/slideLayout" Target="../slideLayouts/slideLayout149.xml"/><Relationship Id="rId30" Type="http://schemas.openxmlformats.org/officeDocument/2006/relationships/slideLayout" Target="../slideLayouts/slideLayout152.xml"/><Relationship Id="rId35" Type="http://schemas.openxmlformats.org/officeDocument/2006/relationships/slideLayout" Target="../slideLayouts/slideLayout157.xml"/><Relationship Id="rId43" Type="http://schemas.openxmlformats.org/officeDocument/2006/relationships/slideLayout" Target="../slideLayouts/slideLayout165.xml"/><Relationship Id="rId48" Type="http://schemas.openxmlformats.org/officeDocument/2006/relationships/theme" Target="../theme/theme3.xml"/><Relationship Id="rId8" Type="http://schemas.openxmlformats.org/officeDocument/2006/relationships/slideLayout" Target="../slideLayouts/slideLayout130.xml"/><Relationship Id="rId51" Type="http://schemas.openxmlformats.org/officeDocument/2006/relationships/image" Target="../media/image1.emf"/><Relationship Id="rId3" Type="http://schemas.openxmlformats.org/officeDocument/2006/relationships/slideLayout" Target="../slideLayouts/slideLayout125.xml"/><Relationship Id="rId12" Type="http://schemas.openxmlformats.org/officeDocument/2006/relationships/slideLayout" Target="../slideLayouts/slideLayout134.xml"/><Relationship Id="rId17" Type="http://schemas.openxmlformats.org/officeDocument/2006/relationships/slideLayout" Target="../slideLayouts/slideLayout139.xml"/><Relationship Id="rId25" Type="http://schemas.openxmlformats.org/officeDocument/2006/relationships/slideLayout" Target="../slideLayouts/slideLayout147.xml"/><Relationship Id="rId33" Type="http://schemas.openxmlformats.org/officeDocument/2006/relationships/slideLayout" Target="../slideLayouts/slideLayout155.xml"/><Relationship Id="rId38" Type="http://schemas.openxmlformats.org/officeDocument/2006/relationships/slideLayout" Target="../slideLayouts/slideLayout160.xml"/><Relationship Id="rId46" Type="http://schemas.openxmlformats.org/officeDocument/2006/relationships/slideLayout" Target="../slideLayouts/slideLayout168.xml"/><Relationship Id="rId20" Type="http://schemas.openxmlformats.org/officeDocument/2006/relationships/slideLayout" Target="../slideLayouts/slideLayout142.xml"/><Relationship Id="rId41" Type="http://schemas.openxmlformats.org/officeDocument/2006/relationships/slideLayout" Target="../slideLayouts/slideLayout163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9AD1A7E-BC0F-BF7C-ABA7-DF97A08CBD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3"/>
            </p:custDataLst>
            <p:extLst>
              <p:ext uri="{D42A27DB-BD31-4B8C-83A1-F6EECF244321}">
                <p14:modId xmlns:p14="http://schemas.microsoft.com/office/powerpoint/2010/main" val="2398461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4" imgW="306" imgH="308" progId="TCLayout.ActiveDocument.1">
                  <p:embed/>
                </p:oleObj>
              </mc:Choice>
              <mc:Fallback>
                <p:oleObj name="think-cell Folie" r:id="rId64" imgW="306" imgH="30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9AD1A7E-BC0F-BF7C-ABA7-DF97A08CBD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41EA6581-B51E-B3DC-157C-542E863BDD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8065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C07E398-730A-35C4-01C2-DEF98F785D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400" y="1588656"/>
            <a:ext cx="10753200" cy="4588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Copy 16 pt</a:t>
            </a:r>
          </a:p>
          <a:p>
            <a:pPr lvl="1"/>
            <a:r>
              <a:rPr lang="de-DE"/>
              <a:t>Bullet 16 pt</a:t>
            </a:r>
          </a:p>
          <a:p>
            <a:pPr lvl="2"/>
            <a:r>
              <a:rPr lang="de-DE"/>
              <a:t>Spiegelstrich 16 pt</a:t>
            </a:r>
          </a:p>
          <a:p>
            <a:pPr lvl="3"/>
            <a:r>
              <a:rPr lang="de-DE"/>
              <a:t>Copy 14 pt</a:t>
            </a:r>
          </a:p>
          <a:p>
            <a:pPr lvl="4"/>
            <a:r>
              <a:rPr lang="de-DE"/>
              <a:t>Bullet 14 pt</a:t>
            </a:r>
          </a:p>
          <a:p>
            <a:pPr lvl="5"/>
            <a:r>
              <a:rPr lang="de-DE"/>
              <a:t>Bullet 18 pt</a:t>
            </a:r>
          </a:p>
          <a:p>
            <a:pPr lvl="6"/>
            <a:r>
              <a:rPr lang="de-DE"/>
              <a:t>Spiegelstrich 18 pt</a:t>
            </a:r>
          </a:p>
          <a:p>
            <a:pPr lvl="7"/>
            <a:r>
              <a:rPr lang="de-DE"/>
              <a:t>Zwischenüberschrift</a:t>
            </a:r>
          </a:p>
          <a:p>
            <a:pPr lvl="8"/>
            <a:r>
              <a:rPr lang="de-DE"/>
              <a:t>Subhead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4EB04FD-9527-AED2-0967-1C8C2412000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0" y="6589397"/>
            <a:ext cx="907473" cy="134936"/>
          </a:xfrm>
          <a:prstGeom prst="rect">
            <a:avLst/>
          </a:prstGeom>
        </p:spPr>
        <p:txBody>
          <a:bodyPr vert="horz" lIns="72000" tIns="0" rIns="0" bIns="0" rtlCol="0" anchor="ctr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EB9180D-46CA-FACC-3517-5DA43B8C8B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59527" y="6589397"/>
            <a:ext cx="4336473" cy="134936"/>
          </a:xfrm>
          <a:prstGeom prst="rect">
            <a:avLst/>
          </a:prstGeom>
        </p:spPr>
        <p:txBody>
          <a:bodyPr vert="horz" lIns="0" tIns="0" rIns="72000" bIns="0" rtlCol="0" anchor="ctr">
            <a:noAutofit/>
          </a:bodyPr>
          <a:lstStyle>
            <a:lvl1pPr algn="r">
              <a:defRPr sz="1000" b="0">
                <a:solidFill>
                  <a:schemeClr val="tx2"/>
                </a:solidFill>
              </a:defRPr>
            </a:lvl1pPr>
          </a:lstStyle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883FDFE-E4DC-C6B6-A71C-2B712AA032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9401" y="6589397"/>
            <a:ext cx="749182" cy="1349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 b="1">
                <a:solidFill>
                  <a:schemeClr val="tx2"/>
                </a:solidFill>
                <a:latin typeface="+mj-lt"/>
              </a:defRPr>
            </a:lvl1pPr>
          </a:lstStyle>
          <a:p>
            <a:fld id="{2B7F7AFC-335A-4E1E-8346-4C0D714D39C6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CFE1C1B6-AA21-4792-7356-1C2D8E0F1938}"/>
              </a:ext>
            </a:extLst>
          </p:cNvPr>
          <p:cNvSpPr/>
          <p:nvPr userDrawn="1"/>
        </p:nvSpPr>
        <p:spPr>
          <a:xfrm>
            <a:off x="719400" y="1185290"/>
            <a:ext cx="1980000" cy="64800"/>
          </a:xfrm>
          <a:prstGeom prst="rect">
            <a:avLst/>
          </a:prstGeom>
          <a:solidFill>
            <a:srgbClr val="004A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31" name="Picture 6" descr="Logo&#10;&#10;Description automatically generated">
            <a:extLst>
              <a:ext uri="{FF2B5EF4-FFF2-40B4-BE49-F238E27FC236}">
                <a16:creationId xmlns:a16="http://schemas.microsoft.com/office/drawing/2014/main" id="{E39AE985-6B17-ED71-E10E-C328D3F770CF}"/>
              </a:ext>
            </a:extLst>
          </p:cNvPr>
          <p:cNvPicPr>
            <a:picLocks noChangeAspect="1"/>
          </p:cNvPicPr>
          <p:nvPr userDrawn="1"/>
        </p:nvPicPr>
        <p:blipFill>
          <a:blip r:embed="rId6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10748441" y="6324952"/>
            <a:ext cx="724160" cy="377823"/>
          </a:xfrm>
          <a:prstGeom prst="rect">
            <a:avLst/>
          </a:prstGeom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DCD1F00A-FA3D-B4BA-709F-98B0E4E16F11}"/>
              </a:ext>
            </a:extLst>
          </p:cNvPr>
          <p:cNvCxnSpPr/>
          <p:nvPr userDrawn="1"/>
        </p:nvCxnSpPr>
        <p:spPr>
          <a:xfrm>
            <a:off x="6096000" y="6558344"/>
            <a:ext cx="0" cy="197042"/>
          </a:xfrm>
          <a:prstGeom prst="line">
            <a:avLst/>
          </a:prstGeom>
          <a:ln w="19050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4654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78" r:id="rId2"/>
    <p:sldLayoutId id="2147483651" r:id="rId3"/>
    <p:sldLayoutId id="2147483696" r:id="rId4"/>
    <p:sldLayoutId id="2147483650" r:id="rId5"/>
    <p:sldLayoutId id="2147483661" r:id="rId6"/>
    <p:sldLayoutId id="2147483691" r:id="rId7"/>
    <p:sldLayoutId id="2147483720" r:id="rId8"/>
    <p:sldLayoutId id="2147483722" r:id="rId9"/>
    <p:sldLayoutId id="2147483723" r:id="rId10"/>
    <p:sldLayoutId id="2147483693" r:id="rId11"/>
    <p:sldLayoutId id="2147483662" r:id="rId12"/>
    <p:sldLayoutId id="2147483719" r:id="rId13"/>
    <p:sldLayoutId id="2147483684" r:id="rId14"/>
    <p:sldLayoutId id="2147483681" r:id="rId15"/>
    <p:sldLayoutId id="2147483688" r:id="rId16"/>
    <p:sldLayoutId id="2147483677" r:id="rId17"/>
    <p:sldLayoutId id="2147483682" r:id="rId18"/>
    <p:sldLayoutId id="2147483695" r:id="rId19"/>
    <p:sldLayoutId id="2147483702" r:id="rId20"/>
    <p:sldLayoutId id="2147483701" r:id="rId21"/>
    <p:sldLayoutId id="2147483718" r:id="rId22"/>
    <p:sldLayoutId id="2147483669" r:id="rId23"/>
    <p:sldLayoutId id="2147483676" r:id="rId24"/>
    <p:sldLayoutId id="2147483703" r:id="rId25"/>
    <p:sldLayoutId id="2147483689" r:id="rId26"/>
    <p:sldLayoutId id="2147483668" r:id="rId27"/>
    <p:sldLayoutId id="2147483697" r:id="rId28"/>
    <p:sldLayoutId id="2147483710" r:id="rId29"/>
    <p:sldLayoutId id="2147483663" r:id="rId30"/>
    <p:sldLayoutId id="2147483712" r:id="rId31"/>
    <p:sldLayoutId id="2147483664" r:id="rId32"/>
    <p:sldLayoutId id="2147483665" r:id="rId33"/>
    <p:sldLayoutId id="2147483687" r:id="rId34"/>
    <p:sldLayoutId id="2147483700" r:id="rId35"/>
    <p:sldLayoutId id="2147483713" r:id="rId36"/>
    <p:sldLayoutId id="2147483699" r:id="rId37"/>
    <p:sldLayoutId id="2147483698" r:id="rId38"/>
    <p:sldLayoutId id="2147483694" r:id="rId39"/>
    <p:sldLayoutId id="2147483690" r:id="rId40"/>
    <p:sldLayoutId id="2147483674" r:id="rId41"/>
    <p:sldLayoutId id="2147483725" r:id="rId42"/>
    <p:sldLayoutId id="2147483666" r:id="rId43"/>
    <p:sldLayoutId id="2147483667" r:id="rId44"/>
    <p:sldLayoutId id="2147483654" r:id="rId45"/>
    <p:sldLayoutId id="2147483711" r:id="rId46"/>
    <p:sldLayoutId id="2147483692" r:id="rId47"/>
    <p:sldLayoutId id="2147483685" r:id="rId48"/>
    <p:sldLayoutId id="2147483670" r:id="rId49"/>
    <p:sldLayoutId id="2147483721" r:id="rId50"/>
    <p:sldLayoutId id="2147483704" r:id="rId51"/>
    <p:sldLayoutId id="2147483706" r:id="rId52"/>
    <p:sldLayoutId id="2147483754" r:id="rId53"/>
    <p:sldLayoutId id="2147483679" r:id="rId54"/>
    <p:sldLayoutId id="2147483671" r:id="rId55"/>
    <p:sldLayoutId id="2147483686" r:id="rId56"/>
    <p:sldLayoutId id="2147483680" r:id="rId57"/>
    <p:sldLayoutId id="2147483683" r:id="rId58"/>
    <p:sldLayoutId id="2147483655" r:id="rId59"/>
    <p:sldLayoutId id="2147483714" r:id="rId60"/>
    <p:sldLayoutId id="2147483726" r:id="rId6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gradFill>
            <a:gsLst>
              <a:gs pos="73441">
                <a:srgbClr val="006B99"/>
              </a:gs>
              <a:gs pos="31900">
                <a:srgbClr val="00579A"/>
              </a:gs>
              <a:gs pos="0">
                <a:srgbClr val="004A9A"/>
              </a:gs>
              <a:gs pos="100000">
                <a:srgbClr val="007B98"/>
              </a:gs>
            </a:gsLst>
            <a:path path="circle">
              <a:fillToRect t="100000" r="100000"/>
            </a:path>
          </a:gra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5000"/>
        </a:lnSpc>
        <a:spcBef>
          <a:spcPts val="600"/>
        </a:spcBef>
        <a:buClr>
          <a:schemeClr val="tx2"/>
        </a:buClr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5000"/>
        </a:lnSpc>
        <a:spcBef>
          <a:spcPts val="6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5000"/>
        </a:lnSpc>
        <a:spcBef>
          <a:spcPts val="3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5000"/>
        </a:lnSpc>
        <a:spcBef>
          <a:spcPts val="600"/>
        </a:spcBef>
        <a:buClr>
          <a:schemeClr val="tx2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0000" indent="-180000" algn="l" defTabSz="914400" rtl="0" eaLnBrk="1" latinLnBrk="0" hangingPunct="1">
        <a:lnSpc>
          <a:spcPct val="105000"/>
        </a:lnSpc>
        <a:spcBef>
          <a:spcPts val="6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16000" indent="-216000" algn="l" defTabSz="914400" rtl="0" eaLnBrk="1" latinLnBrk="0" hangingPunct="1">
        <a:lnSpc>
          <a:spcPct val="105000"/>
        </a:lnSpc>
        <a:spcBef>
          <a:spcPts val="600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432000" indent="-216000" algn="l" defTabSz="914400" rtl="0" eaLnBrk="1" latinLnBrk="0" hangingPunct="1">
        <a:lnSpc>
          <a:spcPct val="105000"/>
        </a:lnSpc>
        <a:spcBef>
          <a:spcPts val="600"/>
        </a:spcBef>
        <a:buClr>
          <a:schemeClr val="tx2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1800" b="1" kern="1200" cap="all" spc="70" baseline="0">
          <a:gradFill>
            <a:gsLst>
              <a:gs pos="73441">
                <a:srgbClr val="006B99"/>
              </a:gs>
              <a:gs pos="31900">
                <a:srgbClr val="00579A"/>
              </a:gs>
              <a:gs pos="0">
                <a:srgbClr val="00499A"/>
              </a:gs>
              <a:gs pos="100000">
                <a:srgbClr val="007B98"/>
              </a:gs>
            </a:gsLst>
            <a:lin ang="0" scaled="0"/>
          </a:gradFill>
          <a:latin typeface="+mj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5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9AD1A7E-BC0F-BF7C-ABA7-DF97A08CBD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3"/>
            </p:custDataLst>
            <p:extLst>
              <p:ext uri="{D42A27DB-BD31-4B8C-83A1-F6EECF244321}">
                <p14:modId xmlns:p14="http://schemas.microsoft.com/office/powerpoint/2010/main" val="2398461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4" imgW="306" imgH="308" progId="TCLayout.ActiveDocument.1">
                  <p:embed/>
                </p:oleObj>
              </mc:Choice>
              <mc:Fallback>
                <p:oleObj name="think-cell Folie" r:id="rId64" imgW="306" imgH="30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9AD1A7E-BC0F-BF7C-ABA7-DF97A08CBD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41EA6581-B51E-B3DC-157C-542E863BDD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8065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C07E398-730A-35C4-01C2-DEF98F785D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400" y="1588656"/>
            <a:ext cx="10753200" cy="4588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Copy 16 pt</a:t>
            </a:r>
          </a:p>
          <a:p>
            <a:pPr lvl="1"/>
            <a:r>
              <a:rPr lang="de-DE"/>
              <a:t>Bullet 16 pt</a:t>
            </a:r>
          </a:p>
          <a:p>
            <a:pPr lvl="2"/>
            <a:r>
              <a:rPr lang="de-DE"/>
              <a:t>Spiegelstrich 16 pt</a:t>
            </a:r>
          </a:p>
          <a:p>
            <a:pPr lvl="3"/>
            <a:r>
              <a:rPr lang="de-DE"/>
              <a:t>Copy 14 pt</a:t>
            </a:r>
          </a:p>
          <a:p>
            <a:pPr lvl="4"/>
            <a:r>
              <a:rPr lang="de-DE"/>
              <a:t>Bullet 14 pt</a:t>
            </a:r>
          </a:p>
          <a:p>
            <a:pPr lvl="5"/>
            <a:r>
              <a:rPr lang="de-DE"/>
              <a:t>Bullet 18 pt</a:t>
            </a:r>
          </a:p>
          <a:p>
            <a:pPr lvl="6"/>
            <a:r>
              <a:rPr lang="de-DE"/>
              <a:t>Spiegelstrich 18 pt</a:t>
            </a:r>
          </a:p>
          <a:p>
            <a:pPr lvl="7"/>
            <a:r>
              <a:rPr lang="de-DE"/>
              <a:t>Zwischenüberschrift</a:t>
            </a:r>
          </a:p>
          <a:p>
            <a:pPr lvl="8"/>
            <a:r>
              <a:rPr lang="de-DE"/>
              <a:t>Subhead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4EB04FD-9527-AED2-0967-1C8C2412000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0" y="6589397"/>
            <a:ext cx="907473" cy="134936"/>
          </a:xfrm>
          <a:prstGeom prst="rect">
            <a:avLst/>
          </a:prstGeom>
        </p:spPr>
        <p:txBody>
          <a:bodyPr vert="horz" lIns="72000" tIns="0" rIns="0" bIns="0" rtlCol="0" anchor="ctr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EB9180D-46CA-FACC-3517-5DA43B8C8B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59527" y="6589397"/>
            <a:ext cx="4336473" cy="134936"/>
          </a:xfrm>
          <a:prstGeom prst="rect">
            <a:avLst/>
          </a:prstGeom>
        </p:spPr>
        <p:txBody>
          <a:bodyPr vert="horz" lIns="0" tIns="0" rIns="72000" bIns="0" rtlCol="0" anchor="ctr">
            <a:noAutofit/>
          </a:bodyPr>
          <a:lstStyle>
            <a:lvl1pPr algn="r">
              <a:defRPr sz="1000" b="0">
                <a:solidFill>
                  <a:schemeClr val="tx2"/>
                </a:solidFill>
              </a:defRPr>
            </a:lvl1pPr>
          </a:lstStyle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883FDFE-E4DC-C6B6-A71C-2B712AA032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9401" y="6589397"/>
            <a:ext cx="749182" cy="1349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 b="1">
                <a:solidFill>
                  <a:schemeClr val="tx2"/>
                </a:solidFill>
                <a:latin typeface="+mj-lt"/>
              </a:defRPr>
            </a:lvl1pPr>
          </a:lstStyle>
          <a:p>
            <a:fld id="{2B7F7AFC-335A-4E1E-8346-4C0D714D39C6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CFE1C1B6-AA21-4792-7356-1C2D8E0F1938}"/>
              </a:ext>
            </a:extLst>
          </p:cNvPr>
          <p:cNvSpPr/>
          <p:nvPr userDrawn="1"/>
        </p:nvSpPr>
        <p:spPr>
          <a:xfrm>
            <a:off x="719400" y="1185290"/>
            <a:ext cx="1980000" cy="64800"/>
          </a:xfrm>
          <a:prstGeom prst="rect">
            <a:avLst/>
          </a:prstGeom>
          <a:solidFill>
            <a:srgbClr val="004A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31" name="Picture 6" descr="Logo&#10;&#10;Description automatically generated">
            <a:extLst>
              <a:ext uri="{FF2B5EF4-FFF2-40B4-BE49-F238E27FC236}">
                <a16:creationId xmlns:a16="http://schemas.microsoft.com/office/drawing/2014/main" id="{E39AE985-6B17-ED71-E10E-C328D3F770CF}"/>
              </a:ext>
            </a:extLst>
          </p:cNvPr>
          <p:cNvPicPr>
            <a:picLocks noChangeAspect="1"/>
          </p:cNvPicPr>
          <p:nvPr userDrawn="1"/>
        </p:nvPicPr>
        <p:blipFill>
          <a:blip r:embed="rId6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 bwMode="auto">
          <a:xfrm>
            <a:off x="10748441" y="6324952"/>
            <a:ext cx="724160" cy="377823"/>
          </a:xfrm>
          <a:prstGeom prst="rect">
            <a:avLst/>
          </a:prstGeom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DCD1F00A-FA3D-B4BA-709F-98B0E4E16F11}"/>
              </a:ext>
            </a:extLst>
          </p:cNvPr>
          <p:cNvCxnSpPr/>
          <p:nvPr userDrawn="1"/>
        </p:nvCxnSpPr>
        <p:spPr>
          <a:xfrm>
            <a:off x="6096000" y="6558344"/>
            <a:ext cx="0" cy="197042"/>
          </a:xfrm>
          <a:prstGeom prst="line">
            <a:avLst/>
          </a:prstGeom>
          <a:ln w="19050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0134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  <p:sldLayoutId id="2147483768" r:id="rId13"/>
    <p:sldLayoutId id="2147483769" r:id="rId14"/>
    <p:sldLayoutId id="2147483770" r:id="rId15"/>
    <p:sldLayoutId id="2147483771" r:id="rId16"/>
    <p:sldLayoutId id="2147483772" r:id="rId17"/>
    <p:sldLayoutId id="2147483773" r:id="rId18"/>
    <p:sldLayoutId id="2147483774" r:id="rId19"/>
    <p:sldLayoutId id="2147483775" r:id="rId20"/>
    <p:sldLayoutId id="2147483776" r:id="rId21"/>
    <p:sldLayoutId id="2147483777" r:id="rId22"/>
    <p:sldLayoutId id="2147483778" r:id="rId23"/>
    <p:sldLayoutId id="2147483779" r:id="rId24"/>
    <p:sldLayoutId id="2147483780" r:id="rId25"/>
    <p:sldLayoutId id="2147483781" r:id="rId26"/>
    <p:sldLayoutId id="2147483782" r:id="rId27"/>
    <p:sldLayoutId id="2147483783" r:id="rId28"/>
    <p:sldLayoutId id="2147483784" r:id="rId29"/>
    <p:sldLayoutId id="2147483785" r:id="rId30"/>
    <p:sldLayoutId id="2147483786" r:id="rId31"/>
    <p:sldLayoutId id="2147483787" r:id="rId32"/>
    <p:sldLayoutId id="2147483788" r:id="rId33"/>
    <p:sldLayoutId id="2147483789" r:id="rId34"/>
    <p:sldLayoutId id="2147483790" r:id="rId35"/>
    <p:sldLayoutId id="2147483791" r:id="rId36"/>
    <p:sldLayoutId id="2147483792" r:id="rId37"/>
    <p:sldLayoutId id="2147483793" r:id="rId38"/>
    <p:sldLayoutId id="2147483794" r:id="rId39"/>
    <p:sldLayoutId id="2147483795" r:id="rId40"/>
    <p:sldLayoutId id="2147483796" r:id="rId41"/>
    <p:sldLayoutId id="2147483797" r:id="rId42"/>
    <p:sldLayoutId id="2147483798" r:id="rId43"/>
    <p:sldLayoutId id="2147483799" r:id="rId44"/>
    <p:sldLayoutId id="2147483800" r:id="rId45"/>
    <p:sldLayoutId id="2147483801" r:id="rId46"/>
    <p:sldLayoutId id="2147483802" r:id="rId47"/>
    <p:sldLayoutId id="2147483803" r:id="rId48"/>
    <p:sldLayoutId id="2147483804" r:id="rId49"/>
    <p:sldLayoutId id="2147483805" r:id="rId50"/>
    <p:sldLayoutId id="2147483806" r:id="rId51"/>
    <p:sldLayoutId id="2147483807" r:id="rId52"/>
    <p:sldLayoutId id="2147483808" r:id="rId53"/>
    <p:sldLayoutId id="2147483809" r:id="rId54"/>
    <p:sldLayoutId id="2147483810" r:id="rId55"/>
    <p:sldLayoutId id="2147483811" r:id="rId56"/>
    <p:sldLayoutId id="2147483812" r:id="rId57"/>
    <p:sldLayoutId id="2147483813" r:id="rId58"/>
    <p:sldLayoutId id="2147483814" r:id="rId59"/>
    <p:sldLayoutId id="2147483815" r:id="rId60"/>
    <p:sldLayoutId id="2147483816" r:id="rId61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gradFill>
            <a:gsLst>
              <a:gs pos="73441">
                <a:srgbClr val="006B99"/>
              </a:gs>
              <a:gs pos="31900">
                <a:srgbClr val="00579A"/>
              </a:gs>
              <a:gs pos="0">
                <a:srgbClr val="004A9A"/>
              </a:gs>
              <a:gs pos="100000">
                <a:srgbClr val="007B98"/>
              </a:gs>
            </a:gsLst>
            <a:path path="circle">
              <a:fillToRect t="100000" r="100000"/>
            </a:path>
          </a:gra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5000"/>
        </a:lnSpc>
        <a:spcBef>
          <a:spcPts val="600"/>
        </a:spcBef>
        <a:buClr>
          <a:schemeClr val="tx2"/>
        </a:buClr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5000"/>
        </a:lnSpc>
        <a:spcBef>
          <a:spcPts val="6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5000"/>
        </a:lnSpc>
        <a:spcBef>
          <a:spcPts val="3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5000"/>
        </a:lnSpc>
        <a:spcBef>
          <a:spcPts val="600"/>
        </a:spcBef>
        <a:buClr>
          <a:schemeClr val="tx2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0000" indent="-180000" algn="l" defTabSz="914400" rtl="0" eaLnBrk="1" latinLnBrk="0" hangingPunct="1">
        <a:lnSpc>
          <a:spcPct val="105000"/>
        </a:lnSpc>
        <a:spcBef>
          <a:spcPts val="6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16000" indent="-216000" algn="l" defTabSz="914400" rtl="0" eaLnBrk="1" latinLnBrk="0" hangingPunct="1">
        <a:lnSpc>
          <a:spcPct val="105000"/>
        </a:lnSpc>
        <a:spcBef>
          <a:spcPts val="600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432000" indent="-216000" algn="l" defTabSz="914400" rtl="0" eaLnBrk="1" latinLnBrk="0" hangingPunct="1">
        <a:lnSpc>
          <a:spcPct val="105000"/>
        </a:lnSpc>
        <a:spcBef>
          <a:spcPts val="600"/>
        </a:spcBef>
        <a:buClr>
          <a:schemeClr val="tx2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5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1800" b="1" kern="1200" cap="all" spc="70" baseline="0">
          <a:gradFill>
            <a:gsLst>
              <a:gs pos="73441">
                <a:srgbClr val="006B99"/>
              </a:gs>
              <a:gs pos="31900">
                <a:srgbClr val="00579A"/>
              </a:gs>
              <a:gs pos="0">
                <a:srgbClr val="00499A"/>
              </a:gs>
              <a:gs pos="100000">
                <a:srgbClr val="007B98"/>
              </a:gs>
            </a:gsLst>
            <a:lin ang="0" scaled="0"/>
          </a:gradFill>
          <a:latin typeface="+mj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5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9AD1A7E-BC0F-BF7C-ABA7-DF97A08CBD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9"/>
            </p:custDataLst>
            <p:extLst>
              <p:ext uri="{D42A27DB-BD31-4B8C-83A1-F6EECF244321}">
                <p14:modId xmlns:p14="http://schemas.microsoft.com/office/powerpoint/2010/main" val="2398461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0" imgW="306" imgH="308" progId="TCLayout.ActiveDocument.1">
                  <p:embed/>
                </p:oleObj>
              </mc:Choice>
              <mc:Fallback>
                <p:oleObj name="think-cell Folie" r:id="rId50" imgW="306" imgH="30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9AD1A7E-BC0F-BF7C-ABA7-DF97A08CBD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41EA6581-B51E-B3DC-157C-542E863BDD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10753200" cy="108065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C07E398-730A-35C4-01C2-DEF98F785D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400" y="1588656"/>
            <a:ext cx="10753200" cy="4588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Copy 16 pt</a:t>
            </a:r>
          </a:p>
          <a:p>
            <a:pPr lvl="1"/>
            <a:r>
              <a:rPr lang="de-DE"/>
              <a:t>Bullet 16 pt</a:t>
            </a:r>
          </a:p>
          <a:p>
            <a:pPr lvl="2"/>
            <a:r>
              <a:rPr lang="de-DE"/>
              <a:t>Spiegelstrich 16 pt</a:t>
            </a:r>
          </a:p>
          <a:p>
            <a:pPr lvl="3"/>
            <a:r>
              <a:rPr lang="de-DE"/>
              <a:t>Copy 14 pt</a:t>
            </a:r>
          </a:p>
          <a:p>
            <a:pPr lvl="4"/>
            <a:r>
              <a:rPr lang="de-DE"/>
              <a:t>Bullet 14 pt</a:t>
            </a:r>
          </a:p>
          <a:p>
            <a:pPr lvl="5"/>
            <a:r>
              <a:rPr lang="de-DE"/>
              <a:t>Bullet 20 pt</a:t>
            </a:r>
          </a:p>
          <a:p>
            <a:pPr lvl="6"/>
            <a:r>
              <a:rPr lang="de-DE"/>
              <a:t>Spiegelstrich 18 pt</a:t>
            </a:r>
          </a:p>
          <a:p>
            <a:pPr lvl="7"/>
            <a:r>
              <a:rPr lang="de-DE"/>
              <a:t>Zwischenüberschrift</a:t>
            </a:r>
          </a:p>
          <a:p>
            <a:pPr lvl="8"/>
            <a:r>
              <a:rPr lang="de-DE"/>
              <a:t>Subhead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4EB04FD-9527-AED2-0967-1C8C2412000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6000" y="6589397"/>
            <a:ext cx="907473" cy="134936"/>
          </a:xfrm>
          <a:prstGeom prst="rect">
            <a:avLst/>
          </a:prstGeom>
        </p:spPr>
        <p:txBody>
          <a:bodyPr vert="horz" lIns="72000" tIns="0" rIns="0" bIns="0" rtlCol="0" anchor="ctr">
            <a:noAutofit/>
          </a:bodyPr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r>
              <a:rPr lang="de-DE"/>
              <a:t>21.10.2022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EB9180D-46CA-FACC-3517-5DA43B8C8B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759527" y="6589397"/>
            <a:ext cx="4336473" cy="134936"/>
          </a:xfrm>
          <a:prstGeom prst="rect">
            <a:avLst/>
          </a:prstGeom>
        </p:spPr>
        <p:txBody>
          <a:bodyPr vert="horz" lIns="0" tIns="0" rIns="72000" bIns="0" rtlCol="0" anchor="ctr">
            <a:noAutofit/>
          </a:bodyPr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r>
              <a:rPr lang="de-CH"/>
              <a:t>Helmholtz MU-Day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883FDFE-E4DC-C6B6-A71C-2B712AA032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9401" y="6589397"/>
            <a:ext cx="749182" cy="13493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 b="1">
                <a:solidFill>
                  <a:schemeClr val="tx2"/>
                </a:solidFill>
                <a:latin typeface="+mj-lt"/>
              </a:defRPr>
            </a:lvl1pPr>
          </a:lstStyle>
          <a:p>
            <a:fld id="{2B7F7AFC-335A-4E1E-8346-4C0D714D39C6}" type="slidenum">
              <a:rPr lang="de-CH" smtClean="0"/>
              <a:pPr/>
              <a:t>‹#›</a:t>
            </a:fld>
            <a:endParaRPr lang="de-CH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CFE1C1B6-AA21-4792-7356-1C2D8E0F1938}"/>
              </a:ext>
            </a:extLst>
          </p:cNvPr>
          <p:cNvSpPr/>
          <p:nvPr userDrawn="1"/>
        </p:nvSpPr>
        <p:spPr>
          <a:xfrm>
            <a:off x="719400" y="1185290"/>
            <a:ext cx="1980000" cy="64800"/>
          </a:xfrm>
          <a:prstGeom prst="rect">
            <a:avLst/>
          </a:prstGeom>
          <a:solidFill>
            <a:srgbClr val="004A9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31" name="Picture 6" descr="Logo&#10;&#10;Description automatically generated">
            <a:extLst>
              <a:ext uri="{FF2B5EF4-FFF2-40B4-BE49-F238E27FC236}">
                <a16:creationId xmlns:a16="http://schemas.microsoft.com/office/drawing/2014/main" id="{E39AE985-6B17-ED71-E10E-C328D3F770CF}"/>
              </a:ext>
            </a:extLst>
          </p:cNvPr>
          <p:cNvPicPr>
            <a:picLocks noChangeAspect="1"/>
          </p:cNvPicPr>
          <p:nvPr userDrawn="1"/>
        </p:nvPicPr>
        <p:blipFill>
          <a:blip r:embed="rId52"/>
          <a:stretch/>
        </p:blipFill>
        <p:spPr bwMode="auto">
          <a:xfrm>
            <a:off x="10748441" y="6324952"/>
            <a:ext cx="724160" cy="377823"/>
          </a:xfrm>
          <a:prstGeom prst="rect">
            <a:avLst/>
          </a:prstGeom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DCD1F00A-FA3D-B4BA-709F-98B0E4E16F11}"/>
              </a:ext>
            </a:extLst>
          </p:cNvPr>
          <p:cNvCxnSpPr/>
          <p:nvPr userDrawn="1"/>
        </p:nvCxnSpPr>
        <p:spPr>
          <a:xfrm>
            <a:off x="6096000" y="6558344"/>
            <a:ext cx="0" cy="197042"/>
          </a:xfrm>
          <a:prstGeom prst="line">
            <a:avLst/>
          </a:prstGeom>
          <a:ln w="19050" cap="rnd">
            <a:solidFill>
              <a:schemeClr val="tx2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2753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  <p:sldLayoutId id="2147483830" r:id="rId13"/>
    <p:sldLayoutId id="2147483831" r:id="rId14"/>
    <p:sldLayoutId id="2147483832" r:id="rId15"/>
    <p:sldLayoutId id="2147483833" r:id="rId16"/>
    <p:sldLayoutId id="2147483834" r:id="rId17"/>
    <p:sldLayoutId id="2147483835" r:id="rId18"/>
    <p:sldLayoutId id="2147483836" r:id="rId19"/>
    <p:sldLayoutId id="2147483837" r:id="rId20"/>
    <p:sldLayoutId id="2147483838" r:id="rId21"/>
    <p:sldLayoutId id="2147483839" r:id="rId22"/>
    <p:sldLayoutId id="2147483840" r:id="rId23"/>
    <p:sldLayoutId id="2147483841" r:id="rId24"/>
    <p:sldLayoutId id="2147483842" r:id="rId25"/>
    <p:sldLayoutId id="2147483843" r:id="rId26"/>
    <p:sldLayoutId id="2147483844" r:id="rId27"/>
    <p:sldLayoutId id="2147483845" r:id="rId28"/>
    <p:sldLayoutId id="2147483846" r:id="rId29"/>
    <p:sldLayoutId id="2147483847" r:id="rId30"/>
    <p:sldLayoutId id="2147483848" r:id="rId31"/>
    <p:sldLayoutId id="2147483849" r:id="rId32"/>
    <p:sldLayoutId id="2147483850" r:id="rId33"/>
    <p:sldLayoutId id="2147483851" r:id="rId34"/>
    <p:sldLayoutId id="2147483852" r:id="rId35"/>
    <p:sldLayoutId id="2147483853" r:id="rId36"/>
    <p:sldLayoutId id="2147483854" r:id="rId37"/>
    <p:sldLayoutId id="2147483855" r:id="rId38"/>
    <p:sldLayoutId id="2147483856" r:id="rId39"/>
    <p:sldLayoutId id="2147483857" r:id="rId40"/>
    <p:sldLayoutId id="2147483858" r:id="rId41"/>
    <p:sldLayoutId id="2147483859" r:id="rId42"/>
    <p:sldLayoutId id="2147483860" r:id="rId43"/>
    <p:sldLayoutId id="2147483861" r:id="rId44"/>
    <p:sldLayoutId id="2147483862" r:id="rId45"/>
    <p:sldLayoutId id="2147483863" r:id="rId46"/>
    <p:sldLayoutId id="2147483864" r:id="rId4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gradFill>
            <a:gsLst>
              <a:gs pos="73441">
                <a:srgbClr val="006B99"/>
              </a:gs>
              <a:gs pos="31900">
                <a:srgbClr val="00579A"/>
              </a:gs>
              <a:gs pos="0">
                <a:srgbClr val="004A9A"/>
              </a:gs>
              <a:gs pos="100000">
                <a:srgbClr val="007B98"/>
              </a:gs>
            </a:gsLst>
            <a:path path="circle">
              <a:fillToRect t="100000" r="100000"/>
            </a:path>
          </a:gra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5000"/>
        </a:lnSpc>
        <a:spcBef>
          <a:spcPts val="600"/>
        </a:spcBef>
        <a:buClr>
          <a:schemeClr val="tx2"/>
        </a:buClr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16000" indent="-216000" algn="l" defTabSz="914400" rtl="0" eaLnBrk="1" latinLnBrk="0" hangingPunct="1">
        <a:lnSpc>
          <a:spcPct val="105000"/>
        </a:lnSpc>
        <a:spcBef>
          <a:spcPts val="6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216000" algn="l" defTabSz="914400" rtl="0" eaLnBrk="1" latinLnBrk="0" hangingPunct="1">
        <a:lnSpc>
          <a:spcPct val="105000"/>
        </a:lnSpc>
        <a:spcBef>
          <a:spcPts val="3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5000"/>
        </a:lnSpc>
        <a:spcBef>
          <a:spcPts val="600"/>
        </a:spcBef>
        <a:buClr>
          <a:schemeClr val="tx2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0000" indent="-180000" algn="l" defTabSz="914400" rtl="0" eaLnBrk="1" latinLnBrk="0" hangingPunct="1">
        <a:lnSpc>
          <a:spcPct val="105000"/>
        </a:lnSpc>
        <a:spcBef>
          <a:spcPts val="600"/>
        </a:spcBef>
        <a:buClr>
          <a:schemeClr val="tx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16000" indent="-216000" algn="l" defTabSz="914400" rtl="0" eaLnBrk="1" latinLnBrk="0" hangingPunct="1">
        <a:lnSpc>
          <a:spcPct val="105000"/>
        </a:lnSpc>
        <a:spcBef>
          <a:spcPts val="1800"/>
        </a:spcBef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432000" indent="-216000" algn="l" defTabSz="914400" rtl="0" eaLnBrk="1" latinLnBrk="0" hangingPunct="1">
        <a:lnSpc>
          <a:spcPct val="105000"/>
        </a:lnSpc>
        <a:spcBef>
          <a:spcPts val="600"/>
        </a:spcBef>
        <a:buClr>
          <a:schemeClr val="tx2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5000"/>
        </a:lnSpc>
        <a:spcBef>
          <a:spcPts val="600"/>
        </a:spcBef>
        <a:spcAft>
          <a:spcPts val="600"/>
        </a:spcAft>
        <a:buFont typeface="Arial" panose="020B0604020202020204" pitchFamily="34" charset="0"/>
        <a:buNone/>
        <a:defRPr sz="1800" b="1" kern="1200" cap="all" spc="70" baseline="0">
          <a:gradFill>
            <a:gsLst>
              <a:gs pos="73441">
                <a:srgbClr val="006B99"/>
              </a:gs>
              <a:gs pos="31900">
                <a:srgbClr val="00579A"/>
              </a:gs>
              <a:gs pos="0">
                <a:srgbClr val="00499A"/>
              </a:gs>
              <a:gs pos="100000">
                <a:srgbClr val="007B98"/>
              </a:gs>
            </a:gsLst>
            <a:lin ang="0" scaled="0"/>
          </a:gradFill>
          <a:latin typeface="+mj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5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000" kern="12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hyperlink" Target="https://desy.zoom.us/j/68514595879?pwd=ZUhYVWhvU09ZUnhkMHF1Y0FmWmZOQT09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1.x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9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2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g"/><Relationship Id="rId1" Type="http://schemas.openxmlformats.org/officeDocument/2006/relationships/slideLayout" Target="../slideLayouts/slideLayout6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g"/><Relationship Id="rId1" Type="http://schemas.openxmlformats.org/officeDocument/2006/relationships/slideLayout" Target="../slideLayouts/slideLayout6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60.png"/><Relationship Id="rId5" Type="http://schemas.openxmlformats.org/officeDocument/2006/relationships/image" Target="../media/image59.jpg"/><Relationship Id="rId4" Type="http://schemas.openxmlformats.org/officeDocument/2006/relationships/image" Target="../media/image58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jpeg"/><Relationship Id="rId13" Type="http://schemas.openxmlformats.org/officeDocument/2006/relationships/image" Target="../media/image68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7.png"/><Relationship Id="rId12" Type="http://schemas.openxmlformats.org/officeDocument/2006/relationships/image" Target="../media/image67.jpeg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175.xml"/><Relationship Id="rId6" Type="http://schemas.openxmlformats.org/officeDocument/2006/relationships/image" Target="../media/image62.png"/><Relationship Id="rId11" Type="http://schemas.openxmlformats.org/officeDocument/2006/relationships/image" Target="../media/image66.tiff"/><Relationship Id="rId5" Type="http://schemas.openxmlformats.org/officeDocument/2006/relationships/image" Target="../media/image61.emf"/><Relationship Id="rId10" Type="http://schemas.openxmlformats.org/officeDocument/2006/relationships/image" Target="../media/image65.png"/><Relationship Id="rId4" Type="http://schemas.openxmlformats.org/officeDocument/2006/relationships/oleObject" Target="../embeddings/oleObject173.bin"/><Relationship Id="rId9" Type="http://schemas.openxmlformats.org/officeDocument/2006/relationships/image" Target="../media/image64.png"/><Relationship Id="rId14" Type="http://schemas.openxmlformats.org/officeDocument/2006/relationships/image" Target="../media/image6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176.xml"/><Relationship Id="rId6" Type="http://schemas.openxmlformats.org/officeDocument/2006/relationships/image" Target="../media/image70.jpg"/><Relationship Id="rId5" Type="http://schemas.openxmlformats.org/officeDocument/2006/relationships/image" Target="../media/image61.emf"/><Relationship Id="rId4" Type="http://schemas.openxmlformats.org/officeDocument/2006/relationships/oleObject" Target="../embeddings/oleObject174.bin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0.bin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72.xml"/><Relationship Id="rId6" Type="http://schemas.openxmlformats.org/officeDocument/2006/relationships/hyperlink" Target="https://www.bmbf.de/de/wissen-schafft-perspektiven-fuer-die-region-13122.html" TargetMode="External"/><Relationship Id="rId5" Type="http://schemas.openxmlformats.org/officeDocument/2006/relationships/image" Target="../media/image10.jp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7.xml"/><Relationship Id="rId1" Type="http://schemas.openxmlformats.org/officeDocument/2006/relationships/tags" Target="../tags/tag17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5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72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7" Type="http://schemas.openxmlformats.org/officeDocument/2006/relationships/image" Target="../media/image7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6.jpeg"/><Relationship Id="rId5" Type="http://schemas.openxmlformats.org/officeDocument/2006/relationships/image" Target="../media/image75.jpeg"/><Relationship Id="rId4" Type="http://schemas.openxmlformats.org/officeDocument/2006/relationships/image" Target="../media/image74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80.jpe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00.xml"/><Relationship Id="rId1" Type="http://schemas.openxmlformats.org/officeDocument/2006/relationships/tags" Target="../tags/tag178.xml"/><Relationship Id="rId6" Type="http://schemas.openxmlformats.org/officeDocument/2006/relationships/image" Target="../media/image81.png"/><Relationship Id="rId5" Type="http://schemas.openxmlformats.org/officeDocument/2006/relationships/image" Target="../media/image61.emf"/><Relationship Id="rId4" Type="http://schemas.openxmlformats.org/officeDocument/2006/relationships/oleObject" Target="../embeddings/oleObject176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png"/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128.xml"/><Relationship Id="rId4" Type="http://schemas.openxmlformats.org/officeDocument/2006/relationships/hyperlink" Target="https://desy.zoom.us/j/68514595879?pwd=ZUhYVWhvU09ZUnhkMHF1Y0FmWmZOQT09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3.png"/><Relationship Id="rId18" Type="http://schemas.openxmlformats.org/officeDocument/2006/relationships/image" Target="../media/image28.png"/><Relationship Id="rId26" Type="http://schemas.openxmlformats.org/officeDocument/2006/relationships/image" Target="../media/image36.png"/><Relationship Id="rId3" Type="http://schemas.openxmlformats.org/officeDocument/2006/relationships/image" Target="../media/image13.jpeg"/><Relationship Id="rId21" Type="http://schemas.openxmlformats.org/officeDocument/2006/relationships/image" Target="../media/image31.png"/><Relationship Id="rId34" Type="http://schemas.openxmlformats.org/officeDocument/2006/relationships/image" Target="../media/image44.svg"/><Relationship Id="rId7" Type="http://schemas.openxmlformats.org/officeDocument/2006/relationships/image" Target="../media/image17.jpeg"/><Relationship Id="rId12" Type="http://schemas.openxmlformats.org/officeDocument/2006/relationships/image" Target="../media/image22.png"/><Relationship Id="rId17" Type="http://schemas.openxmlformats.org/officeDocument/2006/relationships/image" Target="../media/image27.png"/><Relationship Id="rId25" Type="http://schemas.openxmlformats.org/officeDocument/2006/relationships/image" Target="../media/image35.png"/><Relationship Id="rId33" Type="http://schemas.openxmlformats.org/officeDocument/2006/relationships/image" Target="../media/image43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26.png"/><Relationship Id="rId20" Type="http://schemas.openxmlformats.org/officeDocument/2006/relationships/image" Target="../media/image30.png"/><Relationship Id="rId29" Type="http://schemas.openxmlformats.org/officeDocument/2006/relationships/image" Target="../media/image39.png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16.jpeg"/><Relationship Id="rId11" Type="http://schemas.openxmlformats.org/officeDocument/2006/relationships/image" Target="../media/image21.jpeg"/><Relationship Id="rId24" Type="http://schemas.openxmlformats.org/officeDocument/2006/relationships/image" Target="../media/image34.png"/><Relationship Id="rId32" Type="http://schemas.openxmlformats.org/officeDocument/2006/relationships/image" Target="../media/image42.svg"/><Relationship Id="rId5" Type="http://schemas.openxmlformats.org/officeDocument/2006/relationships/image" Target="../media/image15.jpeg"/><Relationship Id="rId15" Type="http://schemas.openxmlformats.org/officeDocument/2006/relationships/image" Target="../media/image25.png"/><Relationship Id="rId23" Type="http://schemas.openxmlformats.org/officeDocument/2006/relationships/image" Target="../media/image33.png"/><Relationship Id="rId28" Type="http://schemas.openxmlformats.org/officeDocument/2006/relationships/image" Target="../media/image38.png"/><Relationship Id="rId10" Type="http://schemas.openxmlformats.org/officeDocument/2006/relationships/image" Target="../media/image20.jpeg"/><Relationship Id="rId19" Type="http://schemas.openxmlformats.org/officeDocument/2006/relationships/image" Target="../media/image29.png"/><Relationship Id="rId31" Type="http://schemas.openxmlformats.org/officeDocument/2006/relationships/image" Target="../media/image41.png"/><Relationship Id="rId4" Type="http://schemas.openxmlformats.org/officeDocument/2006/relationships/image" Target="../media/image14.jpeg"/><Relationship Id="rId9" Type="http://schemas.openxmlformats.org/officeDocument/2006/relationships/image" Target="../media/image19.jpeg"/><Relationship Id="rId14" Type="http://schemas.openxmlformats.org/officeDocument/2006/relationships/image" Target="../media/image24.png"/><Relationship Id="rId22" Type="http://schemas.openxmlformats.org/officeDocument/2006/relationships/image" Target="../media/image32.png"/><Relationship Id="rId27" Type="http://schemas.openxmlformats.org/officeDocument/2006/relationships/image" Target="../media/image37.png"/><Relationship Id="rId30" Type="http://schemas.openxmlformats.org/officeDocument/2006/relationships/image" Target="../media/image40.jpg"/><Relationship Id="rId8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1.bin"/><Relationship Id="rId2" Type="http://schemas.openxmlformats.org/officeDocument/2006/relationships/slideLayout" Target="../slideLayouts/slideLayout47.xml"/><Relationship Id="rId1" Type="http://schemas.openxmlformats.org/officeDocument/2006/relationships/tags" Target="../tags/tag173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jpg"/><Relationship Id="rId3" Type="http://schemas.openxmlformats.org/officeDocument/2006/relationships/oleObject" Target="../embeddings/oleObject172.bin"/><Relationship Id="rId7" Type="http://schemas.openxmlformats.org/officeDocument/2006/relationships/image" Target="../media/image47.png"/><Relationship Id="rId2" Type="http://schemas.openxmlformats.org/officeDocument/2006/relationships/slideLayout" Target="../slideLayouts/slideLayout45.xml"/><Relationship Id="rId1" Type="http://schemas.openxmlformats.org/officeDocument/2006/relationships/tags" Target="../tags/tag174.xml"/><Relationship Id="rId6" Type="http://schemas.openxmlformats.org/officeDocument/2006/relationships/image" Target="../media/image46.svg"/><Relationship Id="rId5" Type="http://schemas.openxmlformats.org/officeDocument/2006/relationships/image" Target="../media/image45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638D929-B1A8-F874-ECA3-F6F503838E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60008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8" progId="TCLayout.ActiveDocument.1">
                  <p:embed/>
                </p:oleObj>
              </mc:Choice>
              <mc:Fallback>
                <p:oleObj name="think-cell Folie" r:id="rId4" imgW="306" imgH="308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638D929-B1A8-F874-ECA3-F6F503838E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dplatzhalter 5" descr="Ein Bild, das Text enthält.&#10;&#10;Automatisch generierte Beschreibung">
            <a:extLst>
              <a:ext uri="{FF2B5EF4-FFF2-40B4-BE49-F238E27FC236}">
                <a16:creationId xmlns:a16="http://schemas.microsoft.com/office/drawing/2014/main" id="{F13418C4-51F0-607B-E4B5-9F7ADE1F130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822666" y="452289"/>
            <a:ext cx="6365147" cy="5721118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AAAFA345-5968-FD31-C538-B34DDB4EF4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4012" y="209619"/>
            <a:ext cx="6751782" cy="2647882"/>
          </a:xfrm>
        </p:spPr>
        <p:txBody>
          <a:bodyPr>
            <a:normAutofit/>
          </a:bodyPr>
          <a:lstStyle/>
          <a:p>
            <a:r>
              <a:rPr lang="de-CH" sz="4800" dirty="0"/>
              <a:t>On solid </a:t>
            </a:r>
            <a:r>
              <a:rPr lang="de-CH" sz="4800" dirty="0" err="1"/>
              <a:t>ground</a:t>
            </a:r>
            <a:br>
              <a:rPr lang="de-CH" sz="2400" dirty="0"/>
            </a:br>
            <a:br>
              <a:rPr lang="de-CH" sz="2400" dirty="0"/>
            </a:br>
            <a:r>
              <a:rPr lang="de-CH" sz="2400" dirty="0"/>
              <a:t>The German </a:t>
            </a:r>
            <a:r>
              <a:rPr lang="de-CH" sz="2400" dirty="0" err="1"/>
              <a:t>Centre</a:t>
            </a:r>
            <a:r>
              <a:rPr lang="de-CH" sz="2400" dirty="0"/>
              <a:t> </a:t>
            </a:r>
            <a:r>
              <a:rPr lang="de-CH" sz="2400" dirty="0" err="1"/>
              <a:t>for</a:t>
            </a:r>
            <a:r>
              <a:rPr lang="de-CH" sz="2400" dirty="0"/>
              <a:t> </a:t>
            </a:r>
            <a:r>
              <a:rPr lang="de-CH" sz="2400" dirty="0" err="1"/>
              <a:t>Astrophysics</a:t>
            </a:r>
            <a:r>
              <a:rPr lang="de-CH" sz="2400" dirty="0"/>
              <a:t>, </a:t>
            </a:r>
            <a:br>
              <a:rPr lang="de-CH" sz="2400" dirty="0"/>
            </a:br>
            <a:r>
              <a:rPr lang="de-CH" sz="2400" dirty="0"/>
              <a:t>a </a:t>
            </a:r>
            <a:r>
              <a:rPr lang="de-CH" sz="2400" dirty="0" err="1"/>
              <a:t>centre</a:t>
            </a:r>
            <a:r>
              <a:rPr lang="de-CH" sz="2400" dirty="0"/>
              <a:t> </a:t>
            </a:r>
            <a:r>
              <a:rPr lang="de-CH" sz="2400" dirty="0" err="1"/>
              <a:t>for</a:t>
            </a:r>
            <a:r>
              <a:rPr lang="de-CH" sz="2400" dirty="0"/>
              <a:t> </a:t>
            </a:r>
            <a:r>
              <a:rPr lang="de-CH" sz="2400" dirty="0" err="1"/>
              <a:t>research</a:t>
            </a:r>
            <a:r>
              <a:rPr lang="de-CH" sz="2400" dirty="0"/>
              <a:t>, </a:t>
            </a:r>
            <a:r>
              <a:rPr lang="de-CH" sz="2400" dirty="0" err="1"/>
              <a:t>technology</a:t>
            </a:r>
            <a:r>
              <a:rPr lang="de-CH" sz="2400" dirty="0"/>
              <a:t>, and </a:t>
            </a:r>
            <a:br>
              <a:rPr lang="de-CH" sz="2400" dirty="0"/>
            </a:br>
            <a:r>
              <a:rPr lang="de-CH" sz="2400" dirty="0" err="1"/>
              <a:t>digitisation</a:t>
            </a:r>
            <a:r>
              <a:rPr lang="de-CH" sz="2400" dirty="0"/>
              <a:t>.</a:t>
            </a:r>
          </a:p>
        </p:txBody>
      </p:sp>
      <p:sp>
        <p:nvSpPr>
          <p:cNvPr id="13" name="Untertitel 12">
            <a:extLst>
              <a:ext uri="{FF2B5EF4-FFF2-40B4-BE49-F238E27FC236}">
                <a16:creationId xmlns:a16="http://schemas.microsoft.com/office/drawing/2014/main" id="{05D78BA2-3C1A-1CC7-84FB-598B0A0626D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64011" y="2689293"/>
            <a:ext cx="5158655" cy="3794633"/>
          </a:xfrm>
        </p:spPr>
        <p:txBody>
          <a:bodyPr/>
          <a:lstStyle/>
          <a:p>
            <a:pPr lvl="1"/>
            <a:endParaRPr lang="en-GB" b="1" dirty="0">
              <a:latin typeface="+mj-lt"/>
            </a:endParaRPr>
          </a:p>
          <a:p>
            <a:pPr lvl="1"/>
            <a:r>
              <a:rPr lang="en-GB" b="1" dirty="0">
                <a:latin typeface="+mj-lt"/>
              </a:rPr>
              <a:t>Christian Stegmann</a:t>
            </a:r>
            <a:br>
              <a:rPr lang="en-GB" b="1" dirty="0">
                <a:latin typeface="+mj-lt"/>
              </a:rPr>
            </a:br>
            <a:r>
              <a:rPr lang="en-GB" dirty="0"/>
              <a:t>MU Day, 21.10.2022</a:t>
            </a:r>
          </a:p>
        </p:txBody>
      </p:sp>
      <p:sp>
        <p:nvSpPr>
          <p:cNvPr id="50" name="Freihandform: Form 49">
            <a:extLst>
              <a:ext uri="{FF2B5EF4-FFF2-40B4-BE49-F238E27FC236}">
                <a16:creationId xmlns:a16="http://schemas.microsoft.com/office/drawing/2014/main" id="{AC185FF5-AE5E-7DC9-9A1A-042204E15AF8}"/>
              </a:ext>
            </a:extLst>
          </p:cNvPr>
          <p:cNvSpPr/>
          <p:nvPr/>
        </p:nvSpPr>
        <p:spPr>
          <a:xfrm>
            <a:off x="2808530" y="1403617"/>
            <a:ext cx="8719458" cy="5454383"/>
          </a:xfrm>
          <a:custGeom>
            <a:avLst/>
            <a:gdLst>
              <a:gd name="connsiteX0" fmla="*/ 4359729 w 8719458"/>
              <a:gd name="connsiteY0" fmla="*/ 0 h 5454383"/>
              <a:gd name="connsiteX1" fmla="*/ 8719458 w 8719458"/>
              <a:gd name="connsiteY1" fmla="*/ 4359729 h 5454383"/>
              <a:gd name="connsiteX2" fmla="*/ 8582202 w 8719458"/>
              <a:gd name="connsiteY2" fmla="*/ 5449294 h 5454383"/>
              <a:gd name="connsiteX3" fmla="*/ 8580757 w 8719458"/>
              <a:gd name="connsiteY3" fmla="*/ 5454383 h 5454383"/>
              <a:gd name="connsiteX4" fmla="*/ 7565874 w 8719458"/>
              <a:gd name="connsiteY4" fmla="*/ 5454383 h 5454383"/>
              <a:gd name="connsiteX5" fmla="*/ 7597535 w 8719458"/>
              <a:gd name="connsiteY5" fmla="*/ 5367878 h 5454383"/>
              <a:gd name="connsiteX6" fmla="*/ 7749953 w 8719458"/>
              <a:gd name="connsiteY6" fmla="*/ 4359729 h 5454383"/>
              <a:gd name="connsiteX7" fmla="*/ 4359729 w 8719458"/>
              <a:gd name="connsiteY7" fmla="*/ 969505 h 5454383"/>
              <a:gd name="connsiteX8" fmla="*/ 969505 w 8719458"/>
              <a:gd name="connsiteY8" fmla="*/ 4359729 h 5454383"/>
              <a:gd name="connsiteX9" fmla="*/ 1121923 w 8719458"/>
              <a:gd name="connsiteY9" fmla="*/ 5367878 h 5454383"/>
              <a:gd name="connsiteX10" fmla="*/ 1153584 w 8719458"/>
              <a:gd name="connsiteY10" fmla="*/ 5454383 h 5454383"/>
              <a:gd name="connsiteX11" fmla="*/ 138702 w 8719458"/>
              <a:gd name="connsiteY11" fmla="*/ 5454383 h 5454383"/>
              <a:gd name="connsiteX12" fmla="*/ 137256 w 8719458"/>
              <a:gd name="connsiteY12" fmla="*/ 5449294 h 5454383"/>
              <a:gd name="connsiteX13" fmla="*/ 0 w 8719458"/>
              <a:gd name="connsiteY13" fmla="*/ 4359729 h 5454383"/>
              <a:gd name="connsiteX14" fmla="*/ 4359729 w 8719458"/>
              <a:gd name="connsiteY14" fmla="*/ 0 h 5454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719458" h="5454383">
                <a:moveTo>
                  <a:pt x="4359729" y="0"/>
                </a:moveTo>
                <a:cubicBezTo>
                  <a:pt x="6767541" y="0"/>
                  <a:pt x="8719458" y="1951917"/>
                  <a:pt x="8719458" y="4359729"/>
                </a:cubicBezTo>
                <a:cubicBezTo>
                  <a:pt x="8719458" y="4735950"/>
                  <a:pt x="8671804" y="5101040"/>
                  <a:pt x="8582202" y="5449294"/>
                </a:cubicBezTo>
                <a:lnTo>
                  <a:pt x="8580757" y="5454383"/>
                </a:lnTo>
                <a:lnTo>
                  <a:pt x="7565874" y="5454383"/>
                </a:lnTo>
                <a:lnTo>
                  <a:pt x="7597535" y="5367878"/>
                </a:lnTo>
                <a:cubicBezTo>
                  <a:pt x="7696591" y="5049404"/>
                  <a:pt x="7749953" y="4710799"/>
                  <a:pt x="7749953" y="4359729"/>
                </a:cubicBezTo>
                <a:cubicBezTo>
                  <a:pt x="7749953" y="2487360"/>
                  <a:pt x="6232098" y="969505"/>
                  <a:pt x="4359729" y="969505"/>
                </a:cubicBezTo>
                <a:cubicBezTo>
                  <a:pt x="2487360" y="969505"/>
                  <a:pt x="969505" y="2487360"/>
                  <a:pt x="969505" y="4359729"/>
                </a:cubicBezTo>
                <a:cubicBezTo>
                  <a:pt x="969505" y="4710799"/>
                  <a:pt x="1022867" y="5049404"/>
                  <a:pt x="1121923" y="5367878"/>
                </a:cubicBezTo>
                <a:lnTo>
                  <a:pt x="1153584" y="5454383"/>
                </a:lnTo>
                <a:lnTo>
                  <a:pt x="138702" y="5454383"/>
                </a:lnTo>
                <a:lnTo>
                  <a:pt x="137256" y="5449294"/>
                </a:lnTo>
                <a:cubicBezTo>
                  <a:pt x="47655" y="5101040"/>
                  <a:pt x="0" y="4735950"/>
                  <a:pt x="0" y="4359729"/>
                </a:cubicBezTo>
                <a:cubicBezTo>
                  <a:pt x="0" y="1951917"/>
                  <a:pt x="1951917" y="0"/>
                  <a:pt x="4359729" y="0"/>
                </a:cubicBezTo>
                <a:close/>
              </a:path>
            </a:pathLst>
          </a:custGeom>
          <a:solidFill>
            <a:schemeClr val="bg1">
              <a:alpha val="2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CH"/>
          </a:p>
        </p:txBody>
      </p: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45104F3A-104F-25DB-1EA0-00835B1D52A1}"/>
              </a:ext>
            </a:extLst>
          </p:cNvPr>
          <p:cNvGrpSpPr/>
          <p:nvPr/>
        </p:nvGrpSpPr>
        <p:grpSpPr>
          <a:xfrm>
            <a:off x="4702234" y="60917"/>
            <a:ext cx="3163014" cy="2042581"/>
            <a:chOff x="4702234" y="60917"/>
            <a:chExt cx="3163014" cy="2042581"/>
          </a:xfrm>
        </p:grpSpPr>
        <p:sp>
          <p:nvSpPr>
            <p:cNvPr id="29" name="Freihandform: Form 28">
              <a:extLst>
                <a:ext uri="{FF2B5EF4-FFF2-40B4-BE49-F238E27FC236}">
                  <a16:creationId xmlns:a16="http://schemas.microsoft.com/office/drawing/2014/main" id="{62840828-9D9B-B0A9-7137-0E090A95CA33}"/>
                </a:ext>
              </a:extLst>
            </p:cNvPr>
            <p:cNvSpPr/>
            <p:nvPr/>
          </p:nvSpPr>
          <p:spPr>
            <a:xfrm>
              <a:off x="4753807" y="60917"/>
              <a:ext cx="139404" cy="139404"/>
            </a:xfrm>
            <a:custGeom>
              <a:avLst/>
              <a:gdLst>
                <a:gd name="connsiteX0" fmla="*/ 139404 w 139404"/>
                <a:gd name="connsiteY0" fmla="*/ 69702 h 139404"/>
                <a:gd name="connsiteX1" fmla="*/ 69702 w 139404"/>
                <a:gd name="connsiteY1" fmla="*/ 139404 h 139404"/>
                <a:gd name="connsiteX2" fmla="*/ 0 w 139404"/>
                <a:gd name="connsiteY2" fmla="*/ 69702 h 139404"/>
                <a:gd name="connsiteX3" fmla="*/ 69702 w 139404"/>
                <a:gd name="connsiteY3" fmla="*/ 0 h 139404"/>
                <a:gd name="connsiteX4" fmla="*/ 139404 w 139404"/>
                <a:gd name="connsiteY4" fmla="*/ 69702 h 139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404" h="139404">
                  <a:moveTo>
                    <a:pt x="139404" y="69702"/>
                  </a:moveTo>
                  <a:cubicBezTo>
                    <a:pt x="139404" y="108198"/>
                    <a:pt x="108198" y="139404"/>
                    <a:pt x="69702" y="139404"/>
                  </a:cubicBezTo>
                  <a:cubicBezTo>
                    <a:pt x="31207" y="139404"/>
                    <a:pt x="0" y="108198"/>
                    <a:pt x="0" y="69702"/>
                  </a:cubicBezTo>
                  <a:cubicBezTo>
                    <a:pt x="0" y="31207"/>
                    <a:pt x="31207" y="0"/>
                    <a:pt x="69702" y="0"/>
                  </a:cubicBezTo>
                  <a:cubicBezTo>
                    <a:pt x="108198" y="0"/>
                    <a:pt x="139404" y="31207"/>
                    <a:pt x="139404" y="69702"/>
                  </a:cubicBezTo>
                  <a:close/>
                </a:path>
              </a:pathLst>
            </a:custGeom>
            <a:solidFill>
              <a:schemeClr val="bg1">
                <a:alpha val="72000"/>
              </a:schemeClr>
            </a:solidFill>
            <a:ln w="140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/>
            </a:p>
          </p:txBody>
        </p:sp>
        <p:sp>
          <p:nvSpPr>
            <p:cNvPr id="30" name="Freihandform: Form 29">
              <a:extLst>
                <a:ext uri="{FF2B5EF4-FFF2-40B4-BE49-F238E27FC236}">
                  <a16:creationId xmlns:a16="http://schemas.microsoft.com/office/drawing/2014/main" id="{C2025965-DCA3-2822-97B1-5E790093DC60}"/>
                </a:ext>
              </a:extLst>
            </p:cNvPr>
            <p:cNvSpPr/>
            <p:nvPr/>
          </p:nvSpPr>
          <p:spPr>
            <a:xfrm>
              <a:off x="4702234" y="452289"/>
              <a:ext cx="139404" cy="139404"/>
            </a:xfrm>
            <a:custGeom>
              <a:avLst/>
              <a:gdLst>
                <a:gd name="connsiteX0" fmla="*/ 139404 w 139404"/>
                <a:gd name="connsiteY0" fmla="*/ 69702 h 139404"/>
                <a:gd name="connsiteX1" fmla="*/ 69702 w 139404"/>
                <a:gd name="connsiteY1" fmla="*/ 139404 h 139404"/>
                <a:gd name="connsiteX2" fmla="*/ 0 w 139404"/>
                <a:gd name="connsiteY2" fmla="*/ 69702 h 139404"/>
                <a:gd name="connsiteX3" fmla="*/ 69702 w 139404"/>
                <a:gd name="connsiteY3" fmla="*/ 0 h 139404"/>
                <a:gd name="connsiteX4" fmla="*/ 139404 w 139404"/>
                <a:gd name="connsiteY4" fmla="*/ 69702 h 139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404" h="139404">
                  <a:moveTo>
                    <a:pt x="139404" y="69702"/>
                  </a:moveTo>
                  <a:cubicBezTo>
                    <a:pt x="139404" y="108198"/>
                    <a:pt x="108198" y="139404"/>
                    <a:pt x="69702" y="139404"/>
                  </a:cubicBezTo>
                  <a:cubicBezTo>
                    <a:pt x="31207" y="139404"/>
                    <a:pt x="0" y="108198"/>
                    <a:pt x="0" y="69702"/>
                  </a:cubicBezTo>
                  <a:cubicBezTo>
                    <a:pt x="0" y="31207"/>
                    <a:pt x="31207" y="0"/>
                    <a:pt x="69702" y="0"/>
                  </a:cubicBezTo>
                  <a:cubicBezTo>
                    <a:pt x="108198" y="0"/>
                    <a:pt x="139404" y="31207"/>
                    <a:pt x="139404" y="69702"/>
                  </a:cubicBezTo>
                  <a:close/>
                </a:path>
              </a:pathLst>
            </a:custGeom>
            <a:solidFill>
              <a:schemeClr val="bg1">
                <a:alpha val="72000"/>
              </a:schemeClr>
            </a:solidFill>
            <a:ln w="140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/>
            </a:p>
          </p:txBody>
        </p:sp>
        <p:sp>
          <p:nvSpPr>
            <p:cNvPr id="31" name="Freihandform: Form 30">
              <a:extLst>
                <a:ext uri="{FF2B5EF4-FFF2-40B4-BE49-F238E27FC236}">
                  <a16:creationId xmlns:a16="http://schemas.microsoft.com/office/drawing/2014/main" id="{2C7B7A8E-BD7E-DF09-8284-031ACC5D170F}"/>
                </a:ext>
              </a:extLst>
            </p:cNvPr>
            <p:cNvSpPr/>
            <p:nvPr/>
          </p:nvSpPr>
          <p:spPr>
            <a:xfrm>
              <a:off x="4753807" y="843520"/>
              <a:ext cx="139404" cy="139404"/>
            </a:xfrm>
            <a:custGeom>
              <a:avLst/>
              <a:gdLst>
                <a:gd name="connsiteX0" fmla="*/ 139404 w 139404"/>
                <a:gd name="connsiteY0" fmla="*/ 69702 h 139404"/>
                <a:gd name="connsiteX1" fmla="*/ 69702 w 139404"/>
                <a:gd name="connsiteY1" fmla="*/ 139404 h 139404"/>
                <a:gd name="connsiteX2" fmla="*/ 0 w 139404"/>
                <a:gd name="connsiteY2" fmla="*/ 69702 h 139404"/>
                <a:gd name="connsiteX3" fmla="*/ 69702 w 139404"/>
                <a:gd name="connsiteY3" fmla="*/ 0 h 139404"/>
                <a:gd name="connsiteX4" fmla="*/ 139404 w 139404"/>
                <a:gd name="connsiteY4" fmla="*/ 69702 h 139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404" h="139404">
                  <a:moveTo>
                    <a:pt x="139404" y="69702"/>
                  </a:moveTo>
                  <a:cubicBezTo>
                    <a:pt x="139404" y="108198"/>
                    <a:pt x="108198" y="139404"/>
                    <a:pt x="69702" y="139404"/>
                  </a:cubicBezTo>
                  <a:cubicBezTo>
                    <a:pt x="31207" y="139404"/>
                    <a:pt x="0" y="108198"/>
                    <a:pt x="0" y="69702"/>
                  </a:cubicBezTo>
                  <a:cubicBezTo>
                    <a:pt x="0" y="31207"/>
                    <a:pt x="31207" y="0"/>
                    <a:pt x="69702" y="0"/>
                  </a:cubicBezTo>
                  <a:cubicBezTo>
                    <a:pt x="108198" y="0"/>
                    <a:pt x="139404" y="31207"/>
                    <a:pt x="139404" y="69702"/>
                  </a:cubicBezTo>
                  <a:close/>
                </a:path>
              </a:pathLst>
            </a:custGeom>
            <a:solidFill>
              <a:schemeClr val="bg1">
                <a:alpha val="72000"/>
              </a:schemeClr>
            </a:solidFill>
            <a:ln w="140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/>
            </a:p>
          </p:txBody>
        </p:sp>
        <p:sp>
          <p:nvSpPr>
            <p:cNvPr id="32" name="Freihandform: Form 31">
              <a:extLst>
                <a:ext uri="{FF2B5EF4-FFF2-40B4-BE49-F238E27FC236}">
                  <a16:creationId xmlns:a16="http://schemas.microsoft.com/office/drawing/2014/main" id="{A31DB694-3217-0798-3844-C58482DE8BED}"/>
                </a:ext>
              </a:extLst>
            </p:cNvPr>
            <p:cNvSpPr/>
            <p:nvPr/>
          </p:nvSpPr>
          <p:spPr>
            <a:xfrm>
              <a:off x="4904735" y="1208191"/>
              <a:ext cx="139404" cy="139404"/>
            </a:xfrm>
            <a:custGeom>
              <a:avLst/>
              <a:gdLst>
                <a:gd name="connsiteX0" fmla="*/ 139404 w 139404"/>
                <a:gd name="connsiteY0" fmla="*/ 69702 h 139404"/>
                <a:gd name="connsiteX1" fmla="*/ 69702 w 139404"/>
                <a:gd name="connsiteY1" fmla="*/ 139404 h 139404"/>
                <a:gd name="connsiteX2" fmla="*/ 0 w 139404"/>
                <a:gd name="connsiteY2" fmla="*/ 69702 h 139404"/>
                <a:gd name="connsiteX3" fmla="*/ 69702 w 139404"/>
                <a:gd name="connsiteY3" fmla="*/ 0 h 139404"/>
                <a:gd name="connsiteX4" fmla="*/ 139404 w 139404"/>
                <a:gd name="connsiteY4" fmla="*/ 69702 h 139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404" h="139404">
                  <a:moveTo>
                    <a:pt x="139404" y="69702"/>
                  </a:moveTo>
                  <a:cubicBezTo>
                    <a:pt x="139404" y="108198"/>
                    <a:pt x="108198" y="139404"/>
                    <a:pt x="69702" y="139404"/>
                  </a:cubicBezTo>
                  <a:cubicBezTo>
                    <a:pt x="31207" y="139404"/>
                    <a:pt x="0" y="108198"/>
                    <a:pt x="0" y="69702"/>
                  </a:cubicBezTo>
                  <a:cubicBezTo>
                    <a:pt x="0" y="31207"/>
                    <a:pt x="31207" y="0"/>
                    <a:pt x="69702" y="0"/>
                  </a:cubicBezTo>
                  <a:cubicBezTo>
                    <a:pt x="108198" y="0"/>
                    <a:pt x="139404" y="31207"/>
                    <a:pt x="139404" y="69702"/>
                  </a:cubicBezTo>
                  <a:close/>
                </a:path>
              </a:pathLst>
            </a:custGeom>
            <a:solidFill>
              <a:schemeClr val="bg1">
                <a:alpha val="72000"/>
              </a:schemeClr>
            </a:solidFill>
            <a:ln w="140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/>
            </a:p>
          </p:txBody>
        </p:sp>
        <p:sp>
          <p:nvSpPr>
            <p:cNvPr id="33" name="Freihandform: Form 32">
              <a:extLst>
                <a:ext uri="{FF2B5EF4-FFF2-40B4-BE49-F238E27FC236}">
                  <a16:creationId xmlns:a16="http://schemas.microsoft.com/office/drawing/2014/main" id="{EB88D4C5-42B9-69DD-D225-6AC68A72A3D1}"/>
                </a:ext>
              </a:extLst>
            </p:cNvPr>
            <p:cNvSpPr/>
            <p:nvPr/>
          </p:nvSpPr>
          <p:spPr>
            <a:xfrm>
              <a:off x="5145039" y="1521288"/>
              <a:ext cx="139404" cy="139404"/>
            </a:xfrm>
            <a:custGeom>
              <a:avLst/>
              <a:gdLst>
                <a:gd name="connsiteX0" fmla="*/ 139404 w 139404"/>
                <a:gd name="connsiteY0" fmla="*/ 69702 h 139404"/>
                <a:gd name="connsiteX1" fmla="*/ 69702 w 139404"/>
                <a:gd name="connsiteY1" fmla="*/ 139404 h 139404"/>
                <a:gd name="connsiteX2" fmla="*/ 0 w 139404"/>
                <a:gd name="connsiteY2" fmla="*/ 69702 h 139404"/>
                <a:gd name="connsiteX3" fmla="*/ 69702 w 139404"/>
                <a:gd name="connsiteY3" fmla="*/ 0 h 139404"/>
                <a:gd name="connsiteX4" fmla="*/ 139404 w 139404"/>
                <a:gd name="connsiteY4" fmla="*/ 69702 h 139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404" h="139404">
                  <a:moveTo>
                    <a:pt x="139404" y="69702"/>
                  </a:moveTo>
                  <a:cubicBezTo>
                    <a:pt x="139404" y="108198"/>
                    <a:pt x="108198" y="139404"/>
                    <a:pt x="69702" y="139404"/>
                  </a:cubicBezTo>
                  <a:cubicBezTo>
                    <a:pt x="31207" y="139404"/>
                    <a:pt x="0" y="108198"/>
                    <a:pt x="0" y="69702"/>
                  </a:cubicBezTo>
                  <a:cubicBezTo>
                    <a:pt x="0" y="31207"/>
                    <a:pt x="31207" y="0"/>
                    <a:pt x="69702" y="0"/>
                  </a:cubicBezTo>
                  <a:cubicBezTo>
                    <a:pt x="108198" y="0"/>
                    <a:pt x="139404" y="31207"/>
                    <a:pt x="139404" y="69702"/>
                  </a:cubicBezTo>
                  <a:close/>
                </a:path>
              </a:pathLst>
            </a:custGeom>
            <a:solidFill>
              <a:schemeClr val="bg1">
                <a:alpha val="72000"/>
              </a:schemeClr>
            </a:solidFill>
            <a:ln w="140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/>
            </a:p>
          </p:txBody>
        </p:sp>
        <p:sp>
          <p:nvSpPr>
            <p:cNvPr id="34" name="Freihandform: Form 33">
              <a:extLst>
                <a:ext uri="{FF2B5EF4-FFF2-40B4-BE49-F238E27FC236}">
                  <a16:creationId xmlns:a16="http://schemas.microsoft.com/office/drawing/2014/main" id="{A673FF3F-BDD4-63DD-5FB0-F88A516A9A8C}"/>
                </a:ext>
              </a:extLst>
            </p:cNvPr>
            <p:cNvSpPr/>
            <p:nvPr/>
          </p:nvSpPr>
          <p:spPr>
            <a:xfrm>
              <a:off x="5458136" y="1761451"/>
              <a:ext cx="139404" cy="139404"/>
            </a:xfrm>
            <a:custGeom>
              <a:avLst/>
              <a:gdLst>
                <a:gd name="connsiteX0" fmla="*/ 139404 w 139404"/>
                <a:gd name="connsiteY0" fmla="*/ 69702 h 139404"/>
                <a:gd name="connsiteX1" fmla="*/ 69702 w 139404"/>
                <a:gd name="connsiteY1" fmla="*/ 139404 h 139404"/>
                <a:gd name="connsiteX2" fmla="*/ 0 w 139404"/>
                <a:gd name="connsiteY2" fmla="*/ 69702 h 139404"/>
                <a:gd name="connsiteX3" fmla="*/ 69702 w 139404"/>
                <a:gd name="connsiteY3" fmla="*/ 0 h 139404"/>
                <a:gd name="connsiteX4" fmla="*/ 139404 w 139404"/>
                <a:gd name="connsiteY4" fmla="*/ 69702 h 139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404" h="139404">
                  <a:moveTo>
                    <a:pt x="139404" y="69702"/>
                  </a:moveTo>
                  <a:cubicBezTo>
                    <a:pt x="139404" y="108198"/>
                    <a:pt x="108197" y="139404"/>
                    <a:pt x="69702" y="139404"/>
                  </a:cubicBezTo>
                  <a:cubicBezTo>
                    <a:pt x="31207" y="139404"/>
                    <a:pt x="0" y="108198"/>
                    <a:pt x="0" y="69702"/>
                  </a:cubicBezTo>
                  <a:cubicBezTo>
                    <a:pt x="0" y="31207"/>
                    <a:pt x="31207" y="0"/>
                    <a:pt x="69702" y="0"/>
                  </a:cubicBezTo>
                  <a:cubicBezTo>
                    <a:pt x="108198" y="0"/>
                    <a:pt x="139404" y="31207"/>
                    <a:pt x="139404" y="69702"/>
                  </a:cubicBezTo>
                  <a:close/>
                </a:path>
              </a:pathLst>
            </a:custGeom>
            <a:solidFill>
              <a:schemeClr val="bg1">
                <a:alpha val="72000"/>
              </a:schemeClr>
            </a:solidFill>
            <a:ln w="140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/>
            </a:p>
          </p:txBody>
        </p:sp>
        <p:sp>
          <p:nvSpPr>
            <p:cNvPr id="35" name="Freihandform: Form 34">
              <a:extLst>
                <a:ext uri="{FF2B5EF4-FFF2-40B4-BE49-F238E27FC236}">
                  <a16:creationId xmlns:a16="http://schemas.microsoft.com/office/drawing/2014/main" id="{CB5696DF-8A68-56E2-725A-B14BE735EC28}"/>
                </a:ext>
              </a:extLst>
            </p:cNvPr>
            <p:cNvSpPr/>
            <p:nvPr/>
          </p:nvSpPr>
          <p:spPr>
            <a:xfrm>
              <a:off x="5822667" y="1912520"/>
              <a:ext cx="139404" cy="139404"/>
            </a:xfrm>
            <a:custGeom>
              <a:avLst/>
              <a:gdLst>
                <a:gd name="connsiteX0" fmla="*/ 139404 w 139404"/>
                <a:gd name="connsiteY0" fmla="*/ 69702 h 139404"/>
                <a:gd name="connsiteX1" fmla="*/ 69702 w 139404"/>
                <a:gd name="connsiteY1" fmla="*/ 139404 h 139404"/>
                <a:gd name="connsiteX2" fmla="*/ 0 w 139404"/>
                <a:gd name="connsiteY2" fmla="*/ 69702 h 139404"/>
                <a:gd name="connsiteX3" fmla="*/ 69702 w 139404"/>
                <a:gd name="connsiteY3" fmla="*/ 0 h 139404"/>
                <a:gd name="connsiteX4" fmla="*/ 139404 w 139404"/>
                <a:gd name="connsiteY4" fmla="*/ 69702 h 139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404" h="139404">
                  <a:moveTo>
                    <a:pt x="139404" y="69702"/>
                  </a:moveTo>
                  <a:cubicBezTo>
                    <a:pt x="139404" y="108198"/>
                    <a:pt x="108198" y="139404"/>
                    <a:pt x="69702" y="139404"/>
                  </a:cubicBezTo>
                  <a:cubicBezTo>
                    <a:pt x="31207" y="139404"/>
                    <a:pt x="0" y="108198"/>
                    <a:pt x="0" y="69702"/>
                  </a:cubicBezTo>
                  <a:cubicBezTo>
                    <a:pt x="0" y="31207"/>
                    <a:pt x="31207" y="0"/>
                    <a:pt x="69702" y="0"/>
                  </a:cubicBezTo>
                  <a:cubicBezTo>
                    <a:pt x="108198" y="0"/>
                    <a:pt x="139404" y="31207"/>
                    <a:pt x="139404" y="69702"/>
                  </a:cubicBezTo>
                  <a:close/>
                </a:path>
              </a:pathLst>
            </a:custGeom>
            <a:solidFill>
              <a:schemeClr val="bg1">
                <a:alpha val="72000"/>
              </a:schemeClr>
            </a:solidFill>
            <a:ln w="140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/>
            </a:p>
          </p:txBody>
        </p:sp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F9CD5F67-04F6-2B5D-1417-A07E2ACA334F}"/>
                </a:ext>
              </a:extLst>
            </p:cNvPr>
            <p:cNvSpPr/>
            <p:nvPr/>
          </p:nvSpPr>
          <p:spPr>
            <a:xfrm>
              <a:off x="6214039" y="1964094"/>
              <a:ext cx="139404" cy="139404"/>
            </a:xfrm>
            <a:custGeom>
              <a:avLst/>
              <a:gdLst>
                <a:gd name="connsiteX0" fmla="*/ 139404 w 139404"/>
                <a:gd name="connsiteY0" fmla="*/ 69702 h 139404"/>
                <a:gd name="connsiteX1" fmla="*/ 69702 w 139404"/>
                <a:gd name="connsiteY1" fmla="*/ 139404 h 139404"/>
                <a:gd name="connsiteX2" fmla="*/ 0 w 139404"/>
                <a:gd name="connsiteY2" fmla="*/ 69702 h 139404"/>
                <a:gd name="connsiteX3" fmla="*/ 69702 w 139404"/>
                <a:gd name="connsiteY3" fmla="*/ 0 h 139404"/>
                <a:gd name="connsiteX4" fmla="*/ 139404 w 139404"/>
                <a:gd name="connsiteY4" fmla="*/ 69702 h 139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404" h="139404">
                  <a:moveTo>
                    <a:pt x="139404" y="69702"/>
                  </a:moveTo>
                  <a:cubicBezTo>
                    <a:pt x="139404" y="108197"/>
                    <a:pt x="108198" y="139404"/>
                    <a:pt x="69702" y="139404"/>
                  </a:cubicBezTo>
                  <a:cubicBezTo>
                    <a:pt x="31207" y="139404"/>
                    <a:pt x="0" y="108197"/>
                    <a:pt x="0" y="69702"/>
                  </a:cubicBezTo>
                  <a:cubicBezTo>
                    <a:pt x="0" y="31207"/>
                    <a:pt x="31207" y="0"/>
                    <a:pt x="69702" y="0"/>
                  </a:cubicBezTo>
                  <a:cubicBezTo>
                    <a:pt x="108198" y="0"/>
                    <a:pt x="139404" y="31207"/>
                    <a:pt x="139404" y="69702"/>
                  </a:cubicBezTo>
                  <a:close/>
                </a:path>
              </a:pathLst>
            </a:custGeom>
            <a:solidFill>
              <a:schemeClr val="bg1">
                <a:alpha val="72000"/>
              </a:schemeClr>
            </a:solidFill>
            <a:ln w="140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22596417-A015-BFA3-7B81-8A79DD9735BA}"/>
                </a:ext>
              </a:extLst>
            </p:cNvPr>
            <p:cNvSpPr/>
            <p:nvPr/>
          </p:nvSpPr>
          <p:spPr>
            <a:xfrm>
              <a:off x="6605270" y="1912520"/>
              <a:ext cx="139404" cy="139404"/>
            </a:xfrm>
            <a:custGeom>
              <a:avLst/>
              <a:gdLst>
                <a:gd name="connsiteX0" fmla="*/ 139404 w 139404"/>
                <a:gd name="connsiteY0" fmla="*/ 69702 h 139404"/>
                <a:gd name="connsiteX1" fmla="*/ 69702 w 139404"/>
                <a:gd name="connsiteY1" fmla="*/ 139404 h 139404"/>
                <a:gd name="connsiteX2" fmla="*/ 0 w 139404"/>
                <a:gd name="connsiteY2" fmla="*/ 69702 h 139404"/>
                <a:gd name="connsiteX3" fmla="*/ 69702 w 139404"/>
                <a:gd name="connsiteY3" fmla="*/ 0 h 139404"/>
                <a:gd name="connsiteX4" fmla="*/ 139404 w 139404"/>
                <a:gd name="connsiteY4" fmla="*/ 69702 h 139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404" h="139404">
                  <a:moveTo>
                    <a:pt x="139404" y="69702"/>
                  </a:moveTo>
                  <a:cubicBezTo>
                    <a:pt x="139404" y="108198"/>
                    <a:pt x="108197" y="139404"/>
                    <a:pt x="69702" y="139404"/>
                  </a:cubicBezTo>
                  <a:cubicBezTo>
                    <a:pt x="31207" y="139404"/>
                    <a:pt x="0" y="108198"/>
                    <a:pt x="0" y="69702"/>
                  </a:cubicBezTo>
                  <a:cubicBezTo>
                    <a:pt x="0" y="31207"/>
                    <a:pt x="31207" y="0"/>
                    <a:pt x="69702" y="0"/>
                  </a:cubicBezTo>
                  <a:cubicBezTo>
                    <a:pt x="108197" y="0"/>
                    <a:pt x="139404" y="31207"/>
                    <a:pt x="139404" y="69702"/>
                  </a:cubicBezTo>
                  <a:close/>
                </a:path>
              </a:pathLst>
            </a:custGeom>
            <a:solidFill>
              <a:schemeClr val="bg1">
                <a:alpha val="72000"/>
              </a:schemeClr>
            </a:solidFill>
            <a:ln w="140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/>
            </a:p>
          </p:txBody>
        </p:sp>
        <p:sp>
          <p:nvSpPr>
            <p:cNvPr id="38" name="Freihandform: Form 37">
              <a:extLst>
                <a:ext uri="{FF2B5EF4-FFF2-40B4-BE49-F238E27FC236}">
                  <a16:creationId xmlns:a16="http://schemas.microsoft.com/office/drawing/2014/main" id="{488EE10E-5B66-6AD1-18B4-60ACED1DF188}"/>
                </a:ext>
              </a:extLst>
            </p:cNvPr>
            <p:cNvSpPr/>
            <p:nvPr/>
          </p:nvSpPr>
          <p:spPr>
            <a:xfrm>
              <a:off x="6969941" y="1761451"/>
              <a:ext cx="139404" cy="139404"/>
            </a:xfrm>
            <a:custGeom>
              <a:avLst/>
              <a:gdLst>
                <a:gd name="connsiteX0" fmla="*/ 139404 w 139404"/>
                <a:gd name="connsiteY0" fmla="*/ 69702 h 139404"/>
                <a:gd name="connsiteX1" fmla="*/ 69702 w 139404"/>
                <a:gd name="connsiteY1" fmla="*/ 139404 h 139404"/>
                <a:gd name="connsiteX2" fmla="*/ 0 w 139404"/>
                <a:gd name="connsiteY2" fmla="*/ 69702 h 139404"/>
                <a:gd name="connsiteX3" fmla="*/ 69702 w 139404"/>
                <a:gd name="connsiteY3" fmla="*/ 0 h 139404"/>
                <a:gd name="connsiteX4" fmla="*/ 139404 w 139404"/>
                <a:gd name="connsiteY4" fmla="*/ 69702 h 139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404" h="139404">
                  <a:moveTo>
                    <a:pt x="139404" y="69702"/>
                  </a:moveTo>
                  <a:cubicBezTo>
                    <a:pt x="139404" y="108198"/>
                    <a:pt x="108197" y="139404"/>
                    <a:pt x="69702" y="139404"/>
                  </a:cubicBezTo>
                  <a:cubicBezTo>
                    <a:pt x="31206" y="139404"/>
                    <a:pt x="0" y="108198"/>
                    <a:pt x="0" y="69702"/>
                  </a:cubicBezTo>
                  <a:cubicBezTo>
                    <a:pt x="0" y="31207"/>
                    <a:pt x="31206" y="0"/>
                    <a:pt x="69702" y="0"/>
                  </a:cubicBezTo>
                  <a:cubicBezTo>
                    <a:pt x="108197" y="0"/>
                    <a:pt x="139404" y="31207"/>
                    <a:pt x="139404" y="69702"/>
                  </a:cubicBezTo>
                  <a:close/>
                </a:path>
              </a:pathLst>
            </a:custGeom>
            <a:solidFill>
              <a:schemeClr val="bg1">
                <a:alpha val="72000"/>
              </a:schemeClr>
            </a:solidFill>
            <a:ln w="140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/>
            </a:p>
          </p:txBody>
        </p:sp>
        <p:sp>
          <p:nvSpPr>
            <p:cNvPr id="39" name="Freihandform: Form 38">
              <a:extLst>
                <a:ext uri="{FF2B5EF4-FFF2-40B4-BE49-F238E27FC236}">
                  <a16:creationId xmlns:a16="http://schemas.microsoft.com/office/drawing/2014/main" id="{313F74FF-43F8-802F-01F9-8B278D26BB64}"/>
                </a:ext>
              </a:extLst>
            </p:cNvPr>
            <p:cNvSpPr/>
            <p:nvPr/>
          </p:nvSpPr>
          <p:spPr>
            <a:xfrm>
              <a:off x="7283038" y="1521288"/>
              <a:ext cx="139404" cy="139404"/>
            </a:xfrm>
            <a:custGeom>
              <a:avLst/>
              <a:gdLst>
                <a:gd name="connsiteX0" fmla="*/ 139404 w 139404"/>
                <a:gd name="connsiteY0" fmla="*/ 69702 h 139404"/>
                <a:gd name="connsiteX1" fmla="*/ 69702 w 139404"/>
                <a:gd name="connsiteY1" fmla="*/ 139404 h 139404"/>
                <a:gd name="connsiteX2" fmla="*/ 0 w 139404"/>
                <a:gd name="connsiteY2" fmla="*/ 69702 h 139404"/>
                <a:gd name="connsiteX3" fmla="*/ 69702 w 139404"/>
                <a:gd name="connsiteY3" fmla="*/ 0 h 139404"/>
                <a:gd name="connsiteX4" fmla="*/ 139404 w 139404"/>
                <a:gd name="connsiteY4" fmla="*/ 69702 h 139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404" h="139404">
                  <a:moveTo>
                    <a:pt x="139404" y="69702"/>
                  </a:moveTo>
                  <a:cubicBezTo>
                    <a:pt x="139404" y="108198"/>
                    <a:pt x="108198" y="139404"/>
                    <a:pt x="69702" y="139404"/>
                  </a:cubicBezTo>
                  <a:cubicBezTo>
                    <a:pt x="31207" y="139404"/>
                    <a:pt x="0" y="108198"/>
                    <a:pt x="0" y="69702"/>
                  </a:cubicBezTo>
                  <a:cubicBezTo>
                    <a:pt x="0" y="31207"/>
                    <a:pt x="31207" y="0"/>
                    <a:pt x="69702" y="0"/>
                  </a:cubicBezTo>
                  <a:cubicBezTo>
                    <a:pt x="108198" y="0"/>
                    <a:pt x="139404" y="31207"/>
                    <a:pt x="139404" y="69702"/>
                  </a:cubicBezTo>
                  <a:close/>
                </a:path>
              </a:pathLst>
            </a:custGeom>
            <a:solidFill>
              <a:schemeClr val="bg1">
                <a:alpha val="72000"/>
              </a:schemeClr>
            </a:solidFill>
            <a:ln w="140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/>
            </a:p>
          </p:txBody>
        </p:sp>
        <p:sp>
          <p:nvSpPr>
            <p:cNvPr id="40" name="Freihandform: Form 39">
              <a:extLst>
                <a:ext uri="{FF2B5EF4-FFF2-40B4-BE49-F238E27FC236}">
                  <a16:creationId xmlns:a16="http://schemas.microsoft.com/office/drawing/2014/main" id="{E8C26EF8-57F1-27FF-876F-7254A47CE882}"/>
                </a:ext>
              </a:extLst>
            </p:cNvPr>
            <p:cNvSpPr/>
            <p:nvPr/>
          </p:nvSpPr>
          <p:spPr>
            <a:xfrm>
              <a:off x="7523201" y="1208191"/>
              <a:ext cx="139404" cy="139404"/>
            </a:xfrm>
            <a:custGeom>
              <a:avLst/>
              <a:gdLst>
                <a:gd name="connsiteX0" fmla="*/ 139404 w 139404"/>
                <a:gd name="connsiteY0" fmla="*/ 69702 h 139404"/>
                <a:gd name="connsiteX1" fmla="*/ 69702 w 139404"/>
                <a:gd name="connsiteY1" fmla="*/ 139404 h 139404"/>
                <a:gd name="connsiteX2" fmla="*/ 0 w 139404"/>
                <a:gd name="connsiteY2" fmla="*/ 69702 h 139404"/>
                <a:gd name="connsiteX3" fmla="*/ 69702 w 139404"/>
                <a:gd name="connsiteY3" fmla="*/ 0 h 139404"/>
                <a:gd name="connsiteX4" fmla="*/ 139404 w 139404"/>
                <a:gd name="connsiteY4" fmla="*/ 69702 h 139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404" h="139404">
                  <a:moveTo>
                    <a:pt x="139404" y="69702"/>
                  </a:moveTo>
                  <a:cubicBezTo>
                    <a:pt x="139404" y="108198"/>
                    <a:pt x="108198" y="139404"/>
                    <a:pt x="69702" y="139404"/>
                  </a:cubicBezTo>
                  <a:cubicBezTo>
                    <a:pt x="31207" y="139404"/>
                    <a:pt x="0" y="108198"/>
                    <a:pt x="0" y="69702"/>
                  </a:cubicBezTo>
                  <a:cubicBezTo>
                    <a:pt x="0" y="31207"/>
                    <a:pt x="31207" y="0"/>
                    <a:pt x="69702" y="0"/>
                  </a:cubicBezTo>
                  <a:cubicBezTo>
                    <a:pt x="108198" y="0"/>
                    <a:pt x="139404" y="31207"/>
                    <a:pt x="139404" y="69702"/>
                  </a:cubicBezTo>
                  <a:close/>
                </a:path>
              </a:pathLst>
            </a:custGeom>
            <a:solidFill>
              <a:schemeClr val="bg1">
                <a:alpha val="72000"/>
              </a:schemeClr>
            </a:solidFill>
            <a:ln w="140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/>
            </a:p>
          </p:txBody>
        </p:sp>
        <p:sp>
          <p:nvSpPr>
            <p:cNvPr id="41" name="Freihandform: Form 40">
              <a:extLst>
                <a:ext uri="{FF2B5EF4-FFF2-40B4-BE49-F238E27FC236}">
                  <a16:creationId xmlns:a16="http://schemas.microsoft.com/office/drawing/2014/main" id="{A78FEDF2-EF6A-D6D9-B06F-EEA60463DE76}"/>
                </a:ext>
              </a:extLst>
            </p:cNvPr>
            <p:cNvSpPr/>
            <p:nvPr/>
          </p:nvSpPr>
          <p:spPr>
            <a:xfrm>
              <a:off x="7674270" y="843520"/>
              <a:ext cx="139404" cy="139404"/>
            </a:xfrm>
            <a:custGeom>
              <a:avLst/>
              <a:gdLst>
                <a:gd name="connsiteX0" fmla="*/ 139404 w 139404"/>
                <a:gd name="connsiteY0" fmla="*/ 69702 h 139404"/>
                <a:gd name="connsiteX1" fmla="*/ 69702 w 139404"/>
                <a:gd name="connsiteY1" fmla="*/ 139404 h 139404"/>
                <a:gd name="connsiteX2" fmla="*/ 0 w 139404"/>
                <a:gd name="connsiteY2" fmla="*/ 69702 h 139404"/>
                <a:gd name="connsiteX3" fmla="*/ 69702 w 139404"/>
                <a:gd name="connsiteY3" fmla="*/ 0 h 139404"/>
                <a:gd name="connsiteX4" fmla="*/ 139404 w 139404"/>
                <a:gd name="connsiteY4" fmla="*/ 69702 h 139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404" h="139404">
                  <a:moveTo>
                    <a:pt x="139404" y="69702"/>
                  </a:moveTo>
                  <a:cubicBezTo>
                    <a:pt x="139404" y="108198"/>
                    <a:pt x="108198" y="139404"/>
                    <a:pt x="69702" y="139404"/>
                  </a:cubicBezTo>
                  <a:cubicBezTo>
                    <a:pt x="31207" y="139404"/>
                    <a:pt x="0" y="108198"/>
                    <a:pt x="0" y="69702"/>
                  </a:cubicBezTo>
                  <a:cubicBezTo>
                    <a:pt x="0" y="31207"/>
                    <a:pt x="31207" y="0"/>
                    <a:pt x="69702" y="0"/>
                  </a:cubicBezTo>
                  <a:cubicBezTo>
                    <a:pt x="108198" y="0"/>
                    <a:pt x="139404" y="31207"/>
                    <a:pt x="139404" y="69702"/>
                  </a:cubicBezTo>
                  <a:close/>
                </a:path>
              </a:pathLst>
            </a:custGeom>
            <a:solidFill>
              <a:schemeClr val="bg1">
                <a:alpha val="72000"/>
              </a:schemeClr>
            </a:solidFill>
            <a:ln w="140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/>
            </a:p>
          </p:txBody>
        </p:sp>
        <p:sp>
          <p:nvSpPr>
            <p:cNvPr id="42" name="Freihandform: Form 41">
              <a:extLst>
                <a:ext uri="{FF2B5EF4-FFF2-40B4-BE49-F238E27FC236}">
                  <a16:creationId xmlns:a16="http://schemas.microsoft.com/office/drawing/2014/main" id="{040B347B-EB02-0CF8-76A1-53085732A6DC}"/>
                </a:ext>
              </a:extLst>
            </p:cNvPr>
            <p:cNvSpPr/>
            <p:nvPr/>
          </p:nvSpPr>
          <p:spPr>
            <a:xfrm>
              <a:off x="7725844" y="452289"/>
              <a:ext cx="139404" cy="139404"/>
            </a:xfrm>
            <a:custGeom>
              <a:avLst/>
              <a:gdLst>
                <a:gd name="connsiteX0" fmla="*/ 139404 w 139404"/>
                <a:gd name="connsiteY0" fmla="*/ 69702 h 139404"/>
                <a:gd name="connsiteX1" fmla="*/ 69702 w 139404"/>
                <a:gd name="connsiteY1" fmla="*/ 139404 h 139404"/>
                <a:gd name="connsiteX2" fmla="*/ 0 w 139404"/>
                <a:gd name="connsiteY2" fmla="*/ 69702 h 139404"/>
                <a:gd name="connsiteX3" fmla="*/ 69702 w 139404"/>
                <a:gd name="connsiteY3" fmla="*/ 0 h 139404"/>
                <a:gd name="connsiteX4" fmla="*/ 139404 w 139404"/>
                <a:gd name="connsiteY4" fmla="*/ 69702 h 139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404" h="139404">
                  <a:moveTo>
                    <a:pt x="139404" y="69702"/>
                  </a:moveTo>
                  <a:cubicBezTo>
                    <a:pt x="139404" y="108198"/>
                    <a:pt x="108197" y="139404"/>
                    <a:pt x="69702" y="139404"/>
                  </a:cubicBezTo>
                  <a:cubicBezTo>
                    <a:pt x="31207" y="139404"/>
                    <a:pt x="0" y="108198"/>
                    <a:pt x="0" y="69702"/>
                  </a:cubicBezTo>
                  <a:cubicBezTo>
                    <a:pt x="0" y="31207"/>
                    <a:pt x="31207" y="0"/>
                    <a:pt x="69702" y="0"/>
                  </a:cubicBezTo>
                  <a:cubicBezTo>
                    <a:pt x="108197" y="0"/>
                    <a:pt x="139404" y="31207"/>
                    <a:pt x="139404" y="69702"/>
                  </a:cubicBezTo>
                  <a:close/>
                </a:path>
              </a:pathLst>
            </a:custGeom>
            <a:solidFill>
              <a:schemeClr val="bg1">
                <a:alpha val="72000"/>
              </a:schemeClr>
            </a:solidFill>
            <a:ln w="140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/>
            </a:p>
          </p:txBody>
        </p:sp>
        <p:sp>
          <p:nvSpPr>
            <p:cNvPr id="43" name="Freihandform: Form 42">
              <a:extLst>
                <a:ext uri="{FF2B5EF4-FFF2-40B4-BE49-F238E27FC236}">
                  <a16:creationId xmlns:a16="http://schemas.microsoft.com/office/drawing/2014/main" id="{CFD97E99-D8A0-449D-0A15-5359ED0ACF3D}"/>
                </a:ext>
              </a:extLst>
            </p:cNvPr>
            <p:cNvSpPr/>
            <p:nvPr/>
          </p:nvSpPr>
          <p:spPr>
            <a:xfrm>
              <a:off x="7674270" y="60917"/>
              <a:ext cx="139404" cy="139404"/>
            </a:xfrm>
            <a:custGeom>
              <a:avLst/>
              <a:gdLst>
                <a:gd name="connsiteX0" fmla="*/ 139404 w 139404"/>
                <a:gd name="connsiteY0" fmla="*/ 69702 h 139404"/>
                <a:gd name="connsiteX1" fmla="*/ 69702 w 139404"/>
                <a:gd name="connsiteY1" fmla="*/ 139404 h 139404"/>
                <a:gd name="connsiteX2" fmla="*/ 0 w 139404"/>
                <a:gd name="connsiteY2" fmla="*/ 69702 h 139404"/>
                <a:gd name="connsiteX3" fmla="*/ 69702 w 139404"/>
                <a:gd name="connsiteY3" fmla="*/ 0 h 139404"/>
                <a:gd name="connsiteX4" fmla="*/ 139404 w 139404"/>
                <a:gd name="connsiteY4" fmla="*/ 69702 h 139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404" h="139404">
                  <a:moveTo>
                    <a:pt x="139404" y="69702"/>
                  </a:moveTo>
                  <a:cubicBezTo>
                    <a:pt x="139404" y="108198"/>
                    <a:pt x="108198" y="139404"/>
                    <a:pt x="69702" y="139404"/>
                  </a:cubicBezTo>
                  <a:cubicBezTo>
                    <a:pt x="31207" y="139404"/>
                    <a:pt x="0" y="108198"/>
                    <a:pt x="0" y="69702"/>
                  </a:cubicBezTo>
                  <a:cubicBezTo>
                    <a:pt x="0" y="31207"/>
                    <a:pt x="31207" y="0"/>
                    <a:pt x="69702" y="0"/>
                  </a:cubicBezTo>
                  <a:cubicBezTo>
                    <a:pt x="108198" y="0"/>
                    <a:pt x="139404" y="31207"/>
                    <a:pt x="139404" y="69702"/>
                  </a:cubicBezTo>
                  <a:close/>
                </a:path>
              </a:pathLst>
            </a:custGeom>
            <a:solidFill>
              <a:schemeClr val="bg1">
                <a:alpha val="72000"/>
              </a:schemeClr>
            </a:solidFill>
            <a:ln w="1401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de-CH"/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5BF89D22-351B-8BD3-FB4C-6693E50A1BBE}"/>
              </a:ext>
            </a:extLst>
          </p:cNvPr>
          <p:cNvSpPr txBox="1"/>
          <p:nvPr/>
        </p:nvSpPr>
        <p:spPr>
          <a:xfrm>
            <a:off x="3321336" y="5934184"/>
            <a:ext cx="609600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CH" sz="2400" b="1" dirty="0">
                <a:solidFill>
                  <a:schemeClr val="bg1"/>
                </a:solidFill>
                <a:latin typeface="+mj-lt"/>
              </a:rPr>
              <a:t>Deutsches Zentrum für Astrophysik</a:t>
            </a:r>
            <a:endParaRPr lang="en-DE" sz="2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AC07001-7305-3C18-6516-9310C7497739}"/>
              </a:ext>
            </a:extLst>
          </p:cNvPr>
          <p:cNvSpPr txBox="1"/>
          <p:nvPr/>
        </p:nvSpPr>
        <p:spPr>
          <a:xfrm>
            <a:off x="1724371" y="4150647"/>
            <a:ext cx="10463442" cy="646331"/>
          </a:xfrm>
          <a:prstGeom prst="rect">
            <a:avLst/>
          </a:prstGeom>
          <a:solidFill>
            <a:srgbClr val="004A9A"/>
          </a:solidFill>
        </p:spPr>
        <p:txBody>
          <a:bodyPr wrap="none" rtlCol="0">
            <a:spAutoFit/>
          </a:bodyPr>
          <a:lstStyle/>
          <a:p>
            <a:r>
              <a:rPr lang="en-DE" dirty="0">
                <a:solidFill>
                  <a:schemeClr val="bg1"/>
                </a:solidFill>
              </a:rPr>
              <a:t>A teaser for Marica Branchesi’s keynote “Gravitational Wave Astronomy”</a:t>
            </a:r>
          </a:p>
          <a:p>
            <a:r>
              <a:rPr lang="en-GB" dirty="0">
                <a:solidFill>
                  <a:schemeClr val="bg1"/>
                </a:solidFill>
              </a:rPr>
              <a:t>s</a:t>
            </a:r>
            <a:r>
              <a:rPr lang="en-DE" dirty="0">
                <a:solidFill>
                  <a:schemeClr val="bg1"/>
                </a:solidFill>
              </a:rPr>
              <a:t>tarting at 9:15 here: </a:t>
            </a:r>
            <a:r>
              <a:rPr lang="en-GB" b="0" i="0" u="none" strike="noStrike" dirty="0">
                <a:solidFill>
                  <a:schemeClr val="bg1"/>
                </a:solidFill>
                <a:effectLst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esy.zoom.us/j/68514595879?pwd=ZUhYVWhvU09ZUnhkMHF1Y0FmWmZOQT09</a:t>
            </a:r>
            <a:endParaRPr lang="en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2988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63856D-8D23-D3AA-7AD5-B2542AADC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The Structure of t</a:t>
            </a:r>
            <a:r>
              <a:rPr lang="en-GB" dirty="0"/>
              <a:t>he</a:t>
            </a:r>
            <a:r>
              <a:rPr lang="en-DE" dirty="0"/>
              <a:t> DZA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DB2BB0-5156-272F-48DE-E6C4DD4A3F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4F5E10-F044-2880-2F16-AFBF30EF85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903DFA-FBFE-BE3A-256E-177A859D8A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pPr/>
              <a:t>10</a:t>
            </a:fld>
            <a:endParaRPr lang="de-CH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7F9D6A5-BCE0-642B-3C41-09AA56FEC268}"/>
              </a:ext>
            </a:extLst>
          </p:cNvPr>
          <p:cNvSpPr/>
          <p:nvPr/>
        </p:nvSpPr>
        <p:spPr>
          <a:xfrm>
            <a:off x="719399" y="1561897"/>
            <a:ext cx="6379920" cy="46892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b="1" dirty="0">
                <a:latin typeface="+mj-lt"/>
              </a:rPr>
              <a:t>Institut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A1C637A-A4D2-1FA1-3D3E-6E7A96F930CB}"/>
              </a:ext>
            </a:extLst>
          </p:cNvPr>
          <p:cNvSpPr/>
          <p:nvPr/>
        </p:nvSpPr>
        <p:spPr>
          <a:xfrm>
            <a:off x="7279320" y="1561896"/>
            <a:ext cx="4193280" cy="46892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b="1" dirty="0">
                <a:latin typeface="+mj-lt"/>
              </a:rPr>
              <a:t>Department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D070AFD-FF03-831C-457A-12C1BC53D62A}"/>
              </a:ext>
            </a:extLst>
          </p:cNvPr>
          <p:cNvSpPr/>
          <p:nvPr/>
        </p:nvSpPr>
        <p:spPr>
          <a:xfrm>
            <a:off x="719399" y="2120819"/>
            <a:ext cx="2006640" cy="18969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45720" rtlCol="0" anchor="t"/>
          <a:lstStyle/>
          <a:p>
            <a:pPr algn="ctr"/>
            <a:r>
              <a:rPr lang="en-DE" dirty="0"/>
              <a:t>Astro physics</a:t>
            </a:r>
          </a:p>
          <a:p>
            <a:pPr algn="ctr"/>
            <a:endParaRPr lang="en-DE" dirty="0"/>
          </a:p>
          <a:p>
            <a:pPr algn="ctr"/>
            <a:endParaRPr lang="en-DE" dirty="0"/>
          </a:p>
          <a:p>
            <a:pPr algn="ctr"/>
            <a:endParaRPr lang="en-DE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B871E31-EBA7-46C8-D5D6-F718A8D3DF65}"/>
              </a:ext>
            </a:extLst>
          </p:cNvPr>
          <p:cNvSpPr/>
          <p:nvPr/>
        </p:nvSpPr>
        <p:spPr>
          <a:xfrm>
            <a:off x="2906039" y="2120819"/>
            <a:ext cx="2006640" cy="18969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45720" rtlCol="0" anchor="t"/>
          <a:lstStyle/>
          <a:p>
            <a:pPr algn="ctr"/>
            <a:r>
              <a:rPr lang="en-GB" dirty="0"/>
              <a:t>Data science</a:t>
            </a:r>
          </a:p>
          <a:p>
            <a:pPr algn="ctr"/>
            <a:endParaRPr lang="en-GB" dirty="0"/>
          </a:p>
          <a:p>
            <a:pPr algn="ctr"/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A842DDD-002C-79FF-03F0-9AB3FF4CD526}"/>
              </a:ext>
            </a:extLst>
          </p:cNvPr>
          <p:cNvSpPr/>
          <p:nvPr/>
        </p:nvSpPr>
        <p:spPr>
          <a:xfrm>
            <a:off x="5092679" y="2120819"/>
            <a:ext cx="2006640" cy="18969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45720" rtlCol="0" anchor="t"/>
          <a:lstStyle/>
          <a:p>
            <a:pPr algn="ctr"/>
            <a:r>
              <a:rPr lang="en-GB" dirty="0"/>
              <a:t>Technology development</a:t>
            </a:r>
          </a:p>
          <a:p>
            <a:pPr algn="ctr"/>
            <a:endParaRPr lang="en-GB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1D2246E-0589-7808-2EF7-17571752F9C2}"/>
              </a:ext>
            </a:extLst>
          </p:cNvPr>
          <p:cNvSpPr/>
          <p:nvPr/>
        </p:nvSpPr>
        <p:spPr>
          <a:xfrm>
            <a:off x="7279321" y="2120819"/>
            <a:ext cx="2006640" cy="18969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45720" rtlCol="0" anchor="t"/>
          <a:lstStyle/>
          <a:p>
            <a:pPr algn="ctr"/>
            <a:r>
              <a:rPr lang="en-GB" dirty="0"/>
              <a:t>Transformation research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54E48A2-5005-A18F-B283-512C2DFE0183}"/>
              </a:ext>
            </a:extLst>
          </p:cNvPr>
          <p:cNvSpPr/>
          <p:nvPr/>
        </p:nvSpPr>
        <p:spPr>
          <a:xfrm>
            <a:off x="9465961" y="2120819"/>
            <a:ext cx="2006640" cy="18969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45720" rtlCol="0" anchor="t"/>
          <a:lstStyle/>
          <a:p>
            <a:pPr algn="ctr"/>
            <a:r>
              <a:rPr lang="en-DE" dirty="0"/>
              <a:t>Administra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F36FDBA-DC90-66B3-4513-2134DE09BC31}"/>
              </a:ext>
            </a:extLst>
          </p:cNvPr>
          <p:cNvSpPr/>
          <p:nvPr/>
        </p:nvSpPr>
        <p:spPr>
          <a:xfrm>
            <a:off x="1180043" y="3238296"/>
            <a:ext cx="9831914" cy="468923"/>
          </a:xfrm>
          <a:prstGeom prst="rect">
            <a:avLst/>
          </a:prstGeom>
          <a:solidFill>
            <a:schemeClr val="accent6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latin typeface="+mj-lt"/>
              </a:rPr>
              <a:t>Centre for Innovation &amp; Transfer</a:t>
            </a:r>
          </a:p>
        </p:txBody>
      </p: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36AB5978-19CD-780D-1C67-CEDC2981376A}"/>
              </a:ext>
            </a:extLst>
          </p:cNvPr>
          <p:cNvGrpSpPr/>
          <p:nvPr/>
        </p:nvGrpSpPr>
        <p:grpSpPr>
          <a:xfrm>
            <a:off x="1180043" y="4064180"/>
            <a:ext cx="9831914" cy="2069240"/>
            <a:chOff x="2865446" y="4107724"/>
            <a:chExt cx="4152686" cy="2069240"/>
          </a:xfrm>
        </p:grpSpPr>
        <p:sp>
          <p:nvSpPr>
            <p:cNvPr id="30" name="Textplatzhalter 7">
              <a:extLst>
                <a:ext uri="{FF2B5EF4-FFF2-40B4-BE49-F238E27FC236}">
                  <a16:creationId xmlns:a16="http://schemas.microsoft.com/office/drawing/2014/main" id="{46FDA4E4-8ED7-9F89-6869-BE8E710BA649}"/>
                </a:ext>
              </a:extLst>
            </p:cNvPr>
            <p:cNvSpPr txBox="1">
              <a:spLocks/>
            </p:cNvSpPr>
            <p:nvPr/>
          </p:nvSpPr>
          <p:spPr>
            <a:xfrm>
              <a:off x="2865446" y="4107724"/>
              <a:ext cx="4152686" cy="2069240"/>
            </a:xfrm>
            <a:prstGeom prst="rect">
              <a:avLst/>
            </a:prstGeom>
            <a:solidFill>
              <a:srgbClr val="E3E3E4"/>
            </a:solidFill>
          </p:spPr>
          <p:txBody>
            <a:bodyPr vert="horz" lIns="2736000" tIns="432000" rIns="90000" bIns="90000" rtlCol="0">
              <a:noAutofit/>
            </a:bodyPr>
            <a:lstStyle>
              <a:lvl1pPr marL="0" indent="0" algn="l" defTabSz="914400" rtl="0" eaLnBrk="1" latinLnBrk="0" hangingPunct="1">
                <a:lnSpc>
                  <a:spcPct val="105000"/>
                </a:lnSpc>
                <a:spcBef>
                  <a:spcPts val="60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16000" indent="-216000" algn="l" defTabSz="914400" rtl="0" eaLnBrk="1" latinLnBrk="0" hangingPunct="1">
                <a:lnSpc>
                  <a:spcPct val="105000"/>
                </a:lnSpc>
                <a:spcBef>
                  <a:spcPts val="600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32000" indent="-216000" algn="l" defTabSz="914400" rtl="0" eaLnBrk="1" latinLnBrk="0" hangingPunct="1">
                <a:lnSpc>
                  <a:spcPct val="105000"/>
                </a:lnSpc>
                <a:spcBef>
                  <a:spcPts val="300"/>
                </a:spcBef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5000"/>
                </a:lnSpc>
                <a:spcBef>
                  <a:spcPts val="60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0000" indent="-180000" algn="l" defTabSz="914400" rtl="0" eaLnBrk="1" latinLnBrk="0" hangingPunct="1">
                <a:lnSpc>
                  <a:spcPct val="105000"/>
                </a:lnSpc>
                <a:spcBef>
                  <a:spcPts val="600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0" indent="-216000" algn="l" defTabSz="914400" rtl="0" eaLnBrk="1" latinLnBrk="0" hangingPunct="1">
                <a:lnSpc>
                  <a:spcPct val="105000"/>
                </a:lnSpc>
                <a:spcBef>
                  <a:spcPts val="600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05000"/>
                </a:lnSpc>
                <a:spcBef>
                  <a:spcPts val="600"/>
                </a:spcBef>
                <a:buClr>
                  <a:schemeClr val="tx2"/>
                </a:buClr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05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b="1" kern="1200" cap="all" spc="70" baseline="0">
                  <a:gradFill>
                    <a:gsLst>
                      <a:gs pos="73441">
                        <a:srgbClr val="006B99"/>
                      </a:gs>
                      <a:gs pos="31900">
                        <a:srgbClr val="00579A"/>
                      </a:gs>
                      <a:gs pos="0">
                        <a:srgbClr val="00499A"/>
                      </a:gs>
                      <a:gs pos="100000">
                        <a:srgbClr val="007B98"/>
                      </a:gs>
                    </a:gsLst>
                    <a:lin ang="0" scaled="0"/>
                  </a:gradFill>
                  <a:latin typeface="+mj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5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9pPr>
            </a:lstStyle>
            <a:p>
              <a:pPr lvl="3"/>
              <a:r>
                <a:rPr lang="de-DE" sz="1600" b="1" dirty="0">
                  <a:solidFill>
                    <a:schemeClr val="tx2"/>
                  </a:solidFill>
                  <a:latin typeface="+mj-lt"/>
                </a:rPr>
                <a:t>The </a:t>
              </a:r>
              <a:r>
                <a:rPr lang="de-DE" sz="1600" b="1" dirty="0" err="1">
                  <a:solidFill>
                    <a:schemeClr val="tx2"/>
                  </a:solidFill>
                  <a:latin typeface="+mj-lt"/>
                </a:rPr>
                <a:t>Centre</a:t>
              </a:r>
              <a:r>
                <a:rPr lang="de-DE" sz="1600" b="1" dirty="0">
                  <a:solidFill>
                    <a:schemeClr val="tx2"/>
                  </a:solidFill>
                  <a:latin typeface="+mj-lt"/>
                </a:rPr>
                <a:t> </a:t>
              </a:r>
              <a:r>
                <a:rPr lang="de-DE" sz="1600" b="1" dirty="0" err="1">
                  <a:solidFill>
                    <a:schemeClr val="tx2"/>
                  </a:solidFill>
                  <a:latin typeface="+mj-lt"/>
                </a:rPr>
                <a:t>for</a:t>
              </a:r>
              <a:r>
                <a:rPr lang="de-DE" sz="1600" b="1" dirty="0">
                  <a:solidFill>
                    <a:schemeClr val="tx2"/>
                  </a:solidFill>
                  <a:latin typeface="+mj-lt"/>
                </a:rPr>
                <a:t> Innovation &amp; Transfer - </a:t>
              </a:r>
              <a:r>
                <a:rPr lang="de-DE" sz="1600" b="1" dirty="0" err="1">
                  <a:solidFill>
                    <a:schemeClr val="tx2"/>
                  </a:solidFill>
                  <a:latin typeface="+mj-lt"/>
                </a:rPr>
                <a:t>the</a:t>
              </a:r>
              <a:r>
                <a:rPr lang="de-DE" sz="1600" b="1" dirty="0">
                  <a:solidFill>
                    <a:schemeClr val="tx2"/>
                  </a:solidFill>
                  <a:latin typeface="+mj-lt"/>
                </a:rPr>
                <a:t> </a:t>
              </a:r>
              <a:r>
                <a:rPr lang="de-DE" sz="1600" b="1" dirty="0" err="1">
                  <a:solidFill>
                    <a:schemeClr val="tx2"/>
                  </a:solidFill>
                  <a:latin typeface="+mj-lt"/>
                </a:rPr>
                <a:t>innovation</a:t>
              </a:r>
              <a:r>
                <a:rPr lang="de-DE" sz="1600" b="1" dirty="0">
                  <a:solidFill>
                    <a:schemeClr val="tx2"/>
                  </a:solidFill>
                  <a:latin typeface="+mj-lt"/>
                </a:rPr>
                <a:t> </a:t>
              </a:r>
              <a:r>
                <a:rPr lang="de-DE" sz="1600" b="1" dirty="0" err="1">
                  <a:solidFill>
                    <a:schemeClr val="tx2"/>
                  </a:solidFill>
                  <a:latin typeface="+mj-lt"/>
                </a:rPr>
                <a:t>engine</a:t>
              </a:r>
              <a:endParaRPr lang="de-DE" sz="1600" b="1" dirty="0">
                <a:solidFill>
                  <a:schemeClr val="tx2"/>
                </a:solidFill>
                <a:latin typeface="+mj-lt"/>
              </a:endParaRPr>
            </a:p>
            <a:p>
              <a:pPr marL="285750" lvl="3" indent="-285750">
                <a:buFont typeface="Arial" panose="020B0604020202020204" pitchFamily="34" charset="0"/>
                <a:buChar char="•"/>
              </a:pPr>
              <a:r>
                <a:rPr lang="de-DE" sz="1600" dirty="0"/>
                <a:t>Technology </a:t>
              </a:r>
              <a:r>
                <a:rPr lang="de-DE" sz="1600" dirty="0" err="1"/>
                <a:t>screening</a:t>
              </a:r>
              <a:endParaRPr lang="de-DE" sz="1600" dirty="0"/>
            </a:p>
            <a:p>
              <a:pPr marL="285750" lvl="3" indent="-285750">
                <a:buFont typeface="Arial" panose="020B0604020202020204" pitchFamily="34" charset="0"/>
                <a:buChar char="•"/>
              </a:pPr>
              <a:r>
                <a:rPr lang="de-DE" sz="1600" dirty="0"/>
                <a:t>Promotion </a:t>
              </a:r>
              <a:r>
                <a:rPr lang="de-DE" sz="1600" dirty="0" err="1"/>
                <a:t>of</a:t>
              </a:r>
              <a:r>
                <a:rPr lang="de-DE" sz="1600" dirty="0"/>
                <a:t> </a:t>
              </a:r>
              <a:r>
                <a:rPr lang="de-DE" sz="1600" dirty="0" err="1"/>
                <a:t>spin</a:t>
              </a:r>
              <a:r>
                <a:rPr lang="de-DE" sz="1600" dirty="0"/>
                <a:t>-offs and </a:t>
              </a:r>
              <a:r>
                <a:rPr lang="de-DE" sz="1600" dirty="0" err="1"/>
                <a:t>start-ups</a:t>
              </a:r>
              <a:endParaRPr lang="de-DE" sz="1600" dirty="0"/>
            </a:p>
            <a:p>
              <a:pPr marL="285750" lvl="3" indent="-285750">
                <a:buFont typeface="Arial" panose="020B0604020202020204" pitchFamily="34" charset="0"/>
                <a:buChar char="•"/>
              </a:pPr>
              <a:r>
                <a:rPr lang="de-DE" sz="1600" dirty="0"/>
                <a:t>Open Science &amp; Transfer Policy</a:t>
              </a:r>
            </a:p>
            <a:p>
              <a:pPr marL="285750" lvl="3" indent="-285750">
                <a:buFont typeface="Arial" panose="020B0604020202020204" pitchFamily="34" charset="0"/>
                <a:buChar char="•"/>
              </a:pPr>
              <a:r>
                <a:rPr lang="de-DE" sz="1600" dirty="0"/>
                <a:t>Funding, </a:t>
              </a:r>
              <a:r>
                <a:rPr lang="de-DE" sz="1600" dirty="0" err="1"/>
                <a:t>project</a:t>
              </a:r>
              <a:r>
                <a:rPr lang="de-DE" sz="1600" dirty="0"/>
                <a:t>, network, IP and </a:t>
              </a:r>
              <a:r>
                <a:rPr lang="de-DE" sz="1600" dirty="0" err="1"/>
                <a:t>knowledge</a:t>
              </a:r>
              <a:r>
                <a:rPr lang="de-DE" sz="1600" dirty="0"/>
                <a:t> </a:t>
              </a:r>
              <a:r>
                <a:rPr lang="de-DE" sz="1600" dirty="0" err="1"/>
                <a:t>management</a:t>
              </a:r>
              <a:endParaRPr lang="de-DE" sz="1600" dirty="0"/>
            </a:p>
            <a:p>
              <a:pPr lvl="3"/>
              <a:endParaRPr lang="de-DE" sz="1600" b="1" dirty="0">
                <a:solidFill>
                  <a:schemeClr val="tx2"/>
                </a:solidFill>
                <a:latin typeface="+mj-lt"/>
              </a:endParaRPr>
            </a:p>
            <a:p>
              <a:pPr lvl="3"/>
              <a:endParaRPr lang="de-DE" sz="1600" b="1" dirty="0">
                <a:solidFill>
                  <a:schemeClr val="tx2"/>
                </a:solidFill>
                <a:latin typeface="+mj-lt"/>
              </a:endParaRPr>
            </a:p>
            <a:p>
              <a:pPr lvl="3"/>
              <a:endParaRPr lang="de-DE" sz="1600" b="1" dirty="0">
                <a:solidFill>
                  <a:schemeClr val="tx2"/>
                </a:solidFill>
                <a:latin typeface="+mj-lt"/>
              </a:endParaRPr>
            </a:p>
            <a:p>
              <a:pPr lvl="3"/>
              <a:endParaRPr lang="de-DE" sz="1600" b="1" dirty="0">
                <a:solidFill>
                  <a:schemeClr val="tx2"/>
                </a:solidFill>
                <a:latin typeface="+mj-lt"/>
              </a:endParaRPr>
            </a:p>
          </p:txBody>
        </p:sp>
        <p:sp>
          <p:nvSpPr>
            <p:cNvPr id="27" name="Gleichschenkliges Dreieck 26">
              <a:extLst>
                <a:ext uri="{FF2B5EF4-FFF2-40B4-BE49-F238E27FC236}">
                  <a16:creationId xmlns:a16="http://schemas.microsoft.com/office/drawing/2014/main" id="{061695D9-3E41-8BA8-625D-342D4C4DEAB5}"/>
                </a:ext>
              </a:extLst>
            </p:cNvPr>
            <p:cNvSpPr/>
            <p:nvPr/>
          </p:nvSpPr>
          <p:spPr>
            <a:xfrm flipV="1">
              <a:off x="2865446" y="4107724"/>
              <a:ext cx="4152686" cy="28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</p:grpSp>
    </p:spTree>
    <p:extLst>
      <p:ext uri="{BB962C8B-B14F-4D97-AF65-F5344CB8AC3E}">
        <p14:creationId xmlns:p14="http://schemas.microsoft.com/office/powerpoint/2010/main" val="2315229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F9A3F3F-47B5-83CC-0E99-F28B4B5DCB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earch </a:t>
            </a:r>
            <a:br>
              <a:rPr lang="en-GB" dirty="0"/>
            </a:br>
            <a:r>
              <a:rPr lang="en-GB" dirty="0"/>
              <a:t>in the treasure of Lusatia</a:t>
            </a:r>
            <a:endParaRPr lang="x-none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D14DC4B-ACEF-EAE2-9451-C4EB3DF37D5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i="1" dirty="0"/>
              <a:t>"The </a:t>
            </a:r>
            <a:r>
              <a:rPr lang="en-GB" i="1" dirty="0" err="1"/>
              <a:t>Lusatians</a:t>
            </a:r>
            <a:r>
              <a:rPr lang="en-GB" i="1" dirty="0"/>
              <a:t> are proud of their granite treasure, and it is a fascinating approach to let this treasure grow into a large number of long-term stable jobs in the whole range from crafts to science."</a:t>
            </a:r>
          </a:p>
          <a:p>
            <a:pPr algn="r"/>
            <a:r>
              <a:rPr lang="en-GB" i="1" dirty="0" err="1"/>
              <a:t>Dawid</a:t>
            </a:r>
            <a:r>
              <a:rPr lang="en-GB" i="1" dirty="0"/>
              <a:t> </a:t>
            </a:r>
            <a:r>
              <a:rPr lang="en-GB" i="1" dirty="0" err="1"/>
              <a:t>Statnik</a:t>
            </a:r>
            <a:r>
              <a:rPr lang="en-GB" i="1" dirty="0"/>
              <a:t>, Chairman </a:t>
            </a:r>
            <a:r>
              <a:rPr lang="en-GB" i="1" dirty="0" err="1"/>
              <a:t>Domowina</a:t>
            </a:r>
            <a:r>
              <a:rPr lang="en-GB" i="1" dirty="0"/>
              <a:t>, Association of Lusatian Sorbs</a:t>
            </a:r>
          </a:p>
          <a:p>
            <a:br>
              <a:rPr lang="de-DE" sz="2000" dirty="0"/>
            </a:br>
            <a:br>
              <a:rPr lang="de-DE" sz="2400" dirty="0"/>
            </a:br>
            <a:endParaRPr lang="x-non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66FE1A-A4D5-2BCA-84C9-CE73C33485A6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1283950" y="6589713"/>
            <a:ext cx="908050" cy="134937"/>
          </a:xfrm>
        </p:spPr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F26305-1FF3-8B62-3E2E-EAA013B3370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589713"/>
            <a:ext cx="4337050" cy="134937"/>
          </a:xfrm>
        </p:spPr>
        <p:txBody>
          <a:bodyPr/>
          <a:lstStyle/>
          <a:p>
            <a:r>
              <a:rPr lang="de-CH"/>
              <a:t>Helmholtz MU-Day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9FFD6B-414C-80C6-2964-0872B8B1068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589713"/>
            <a:ext cx="749300" cy="134937"/>
          </a:xfrm>
        </p:spPr>
        <p:txBody>
          <a:bodyPr/>
          <a:lstStyle/>
          <a:p>
            <a:fld id="{2B7F7AFC-335A-4E1E-8346-4C0D714D39C6}" type="slidenum">
              <a:rPr lang="de-CH" smtClean="0"/>
              <a:t>1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77063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2565008" y="0"/>
            <a:ext cx="8265149" cy="6858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/>
        </p:blipFill>
        <p:spPr bwMode="auto">
          <a:xfrm>
            <a:off x="465949" y="-397043"/>
            <a:ext cx="11408035" cy="7519738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464029" y="-803588"/>
            <a:ext cx="8876292" cy="8590983"/>
          </a:xfrm>
          <a:prstGeom prst="rect">
            <a:avLst/>
          </a:prstGeom>
        </p:spPr>
      </p:pic>
      <p:sp>
        <p:nvSpPr>
          <p:cNvPr id="6" name="Oval 5"/>
          <p:cNvSpPr/>
          <p:nvPr/>
        </p:nvSpPr>
        <p:spPr bwMode="auto">
          <a:xfrm>
            <a:off x="3322348" y="5880549"/>
            <a:ext cx="1631780" cy="1626675"/>
          </a:xfrm>
          <a:prstGeom prst="ellipse">
            <a:avLst/>
          </a:prstGeom>
          <a:solidFill>
            <a:schemeClr val="bg1">
              <a:alpha val="18824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Oval 6"/>
          <p:cNvSpPr/>
          <p:nvPr/>
        </p:nvSpPr>
        <p:spPr bwMode="auto">
          <a:xfrm>
            <a:off x="6519700" y="5729672"/>
            <a:ext cx="1631780" cy="1626675"/>
          </a:xfrm>
          <a:prstGeom prst="ellipse">
            <a:avLst/>
          </a:prstGeom>
          <a:solidFill>
            <a:schemeClr val="bg1">
              <a:alpha val="18824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" name="Oval 7"/>
          <p:cNvSpPr/>
          <p:nvPr/>
        </p:nvSpPr>
        <p:spPr bwMode="auto">
          <a:xfrm>
            <a:off x="1925348" y="851349"/>
            <a:ext cx="1631780" cy="1626675"/>
          </a:xfrm>
          <a:prstGeom prst="ellipse">
            <a:avLst/>
          </a:prstGeom>
          <a:solidFill>
            <a:schemeClr val="bg1">
              <a:alpha val="18824"/>
            </a:schemeClr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Oval 9"/>
          <p:cNvSpPr/>
          <p:nvPr/>
        </p:nvSpPr>
        <p:spPr bwMode="auto">
          <a:xfrm>
            <a:off x="7684568" y="3009317"/>
            <a:ext cx="1631780" cy="1626675"/>
          </a:xfrm>
          <a:prstGeom prst="ellipse">
            <a:avLst/>
          </a:prstGeom>
          <a:solidFill>
            <a:schemeClr val="bg1">
              <a:alpha val="18824"/>
            </a:schemeClr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2" name="Oval 11"/>
          <p:cNvSpPr/>
          <p:nvPr/>
        </p:nvSpPr>
        <p:spPr bwMode="auto">
          <a:xfrm>
            <a:off x="8074938" y="4591723"/>
            <a:ext cx="1631780" cy="1626675"/>
          </a:xfrm>
          <a:prstGeom prst="ellipse">
            <a:avLst/>
          </a:prstGeom>
          <a:solidFill>
            <a:schemeClr val="bg1">
              <a:alpha val="18824"/>
            </a:schemeClr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3" name="Triangle 12"/>
          <p:cNvSpPr/>
          <p:nvPr/>
        </p:nvSpPr>
        <p:spPr bwMode="auto">
          <a:xfrm rot="10800000">
            <a:off x="4128668" y="3883727"/>
            <a:ext cx="3149918" cy="2696032"/>
          </a:xfrm>
          <a:prstGeom prst="triangle">
            <a:avLst>
              <a:gd name="adj" fmla="val 50549"/>
            </a:avLst>
          </a:prstGeom>
          <a:solidFill>
            <a:srgbClr val="0432FF">
              <a:alpha val="21176"/>
            </a:srgbClr>
          </a:solidFill>
          <a:ln w="38100">
            <a:solidFill>
              <a:srgbClr val="0432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86897E2-3C1A-A7C2-C9F3-E0D3077DED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F54B72F-2084-C8D2-FA68-6F1DCDE9CD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195943F-E472-EC13-4AE6-02E674864A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1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37003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Placeholder 6">
            <a:extLst>
              <a:ext uri="{FF2B5EF4-FFF2-40B4-BE49-F238E27FC236}">
                <a16:creationId xmlns:a16="http://schemas.microsoft.com/office/drawing/2014/main" id="{D68B58D7-99AF-F763-2611-797C3E4EAF1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7032" b="7246"/>
          <a:stretch/>
        </p:blipFill>
        <p:spPr>
          <a:xfrm>
            <a:off x="0" y="0"/>
            <a:ext cx="12192000" cy="6176964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87347DB-B937-7C53-89E5-0F401147B064}"/>
              </a:ext>
            </a:extLst>
          </p:cNvPr>
          <p:cNvSpPr/>
          <p:nvPr/>
        </p:nvSpPr>
        <p:spPr>
          <a:xfrm>
            <a:off x="0" y="0"/>
            <a:ext cx="12192000" cy="6176964"/>
          </a:xfrm>
          <a:prstGeom prst="rect">
            <a:avLst/>
          </a:prstGeom>
          <a:solidFill>
            <a:schemeClr val="tx2">
              <a:alpha val="2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 dirty="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39F8D955-03D4-33F4-A53F-471692C751E7}"/>
              </a:ext>
            </a:extLst>
          </p:cNvPr>
          <p:cNvSpPr/>
          <p:nvPr/>
        </p:nvSpPr>
        <p:spPr>
          <a:xfrm>
            <a:off x="6549736" y="514078"/>
            <a:ext cx="288000" cy="288758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E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3689E49-5FBC-2AC1-1A42-06A098B0AE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easurements in the Treasure of Lusatia</a:t>
            </a:r>
            <a:endParaRPr lang="en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F673AB-A5A8-4915-AAB5-DBB69DC4F0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546881-C911-CD9A-7DEE-E4E495D178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4A80735-DD98-0298-D707-21B1FD07D0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13</a:t>
            </a:fld>
            <a:endParaRPr lang="de-CH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2F76526-A847-D6CD-2C5A-2C18BB4A7B00}"/>
              </a:ext>
            </a:extLst>
          </p:cNvPr>
          <p:cNvSpPr txBox="1"/>
          <p:nvPr/>
        </p:nvSpPr>
        <p:spPr>
          <a:xfrm>
            <a:off x="1020099" y="3932259"/>
            <a:ext cx="1744388" cy="646331"/>
          </a:xfrm>
          <a:prstGeom prst="rect">
            <a:avLst/>
          </a:prstGeom>
          <a:solidFill>
            <a:schemeClr val="tx2"/>
          </a:solidFill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chemeClr val="bg1"/>
                </a:solidFill>
              </a:rPr>
              <a:t>Seismometer on </a:t>
            </a:r>
          </a:p>
          <a:p>
            <a:r>
              <a:rPr lang="en-GB" dirty="0">
                <a:solidFill>
                  <a:schemeClr val="bg1"/>
                </a:solidFill>
              </a:rPr>
              <a:t>the surface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E08AE32A-4312-1296-65A9-DC8C8FAF2730}"/>
              </a:ext>
            </a:extLst>
          </p:cNvPr>
          <p:cNvGrpSpPr/>
          <p:nvPr/>
        </p:nvGrpSpPr>
        <p:grpSpPr>
          <a:xfrm>
            <a:off x="2764487" y="444807"/>
            <a:ext cx="5808692" cy="4423403"/>
            <a:chOff x="2764487" y="444807"/>
            <a:chExt cx="5808692" cy="4423403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4BF5B4B7-4058-CDE1-886C-DCF358B7ECD1}"/>
                </a:ext>
              </a:extLst>
            </p:cNvPr>
            <p:cNvSpPr/>
            <p:nvPr/>
          </p:nvSpPr>
          <p:spPr>
            <a:xfrm>
              <a:off x="6096000" y="2294021"/>
              <a:ext cx="216000" cy="216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CEF6A574-7F7C-ECDE-9937-3BBAC1AC07E2}"/>
                </a:ext>
              </a:extLst>
            </p:cNvPr>
            <p:cNvSpPr/>
            <p:nvPr/>
          </p:nvSpPr>
          <p:spPr>
            <a:xfrm>
              <a:off x="4106290" y="527203"/>
              <a:ext cx="216000" cy="216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75663210-1EAC-DACB-58D5-0483A7FFCBED}"/>
                </a:ext>
              </a:extLst>
            </p:cNvPr>
            <p:cNvSpPr/>
            <p:nvPr/>
          </p:nvSpPr>
          <p:spPr>
            <a:xfrm>
              <a:off x="5181600" y="4652210"/>
              <a:ext cx="216000" cy="216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3F5CCC18-127C-DEBC-3914-1C3EC08C454D}"/>
                </a:ext>
              </a:extLst>
            </p:cNvPr>
            <p:cNvSpPr/>
            <p:nvPr/>
          </p:nvSpPr>
          <p:spPr>
            <a:xfrm>
              <a:off x="8357179" y="444807"/>
              <a:ext cx="216000" cy="2160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658E0DB1-E7F2-7F1E-50C2-F1BADE80EC7C}"/>
                </a:ext>
              </a:extLst>
            </p:cNvPr>
            <p:cNvCxnSpPr>
              <a:cxnSpLocks/>
              <a:stCxn id="11" idx="4"/>
              <a:endCxn id="16" idx="3"/>
            </p:cNvCxnSpPr>
            <p:nvPr/>
          </p:nvCxnSpPr>
          <p:spPr>
            <a:xfrm flipH="1">
              <a:off x="2764487" y="743203"/>
              <a:ext cx="1449803" cy="3512222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9A3977DC-1C5F-9392-006A-4EE21D8148E7}"/>
                </a:ext>
              </a:extLst>
            </p:cNvPr>
            <p:cNvCxnSpPr>
              <a:cxnSpLocks/>
              <a:stCxn id="10" idx="3"/>
              <a:endCxn id="16" idx="3"/>
            </p:cNvCxnSpPr>
            <p:nvPr/>
          </p:nvCxnSpPr>
          <p:spPr>
            <a:xfrm flipH="1">
              <a:off x="2764487" y="629175"/>
              <a:ext cx="5624324" cy="3626250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4CD1E77C-0188-6AB8-D8EA-91E1FDB2A09C}"/>
                </a:ext>
              </a:extLst>
            </p:cNvPr>
            <p:cNvCxnSpPr>
              <a:cxnSpLocks/>
              <a:stCxn id="9" idx="3"/>
              <a:endCxn id="16" idx="3"/>
            </p:cNvCxnSpPr>
            <p:nvPr/>
          </p:nvCxnSpPr>
          <p:spPr>
            <a:xfrm flipH="1">
              <a:off x="2764487" y="2478389"/>
              <a:ext cx="3363145" cy="1777036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C2A6D4E-27BD-0ABE-7C07-67DDECAE028C}"/>
                </a:ext>
              </a:extLst>
            </p:cNvPr>
            <p:cNvCxnSpPr>
              <a:cxnSpLocks/>
              <a:stCxn id="12" idx="2"/>
              <a:endCxn id="16" idx="3"/>
            </p:cNvCxnSpPr>
            <p:nvPr/>
          </p:nvCxnSpPr>
          <p:spPr>
            <a:xfrm flipH="1" flipV="1">
              <a:off x="2764487" y="4255425"/>
              <a:ext cx="2417113" cy="504785"/>
            </a:xfrm>
            <a:prstGeom prst="line">
              <a:avLst/>
            </a:prstGeom>
            <a:ln w="12700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Lichtkegel links">
            <a:extLst>
              <a:ext uri="{FF2B5EF4-FFF2-40B4-BE49-F238E27FC236}">
                <a16:creationId xmlns:a16="http://schemas.microsoft.com/office/drawing/2014/main" id="{6FA44D53-0B99-C3E1-B94E-27C4D7FBCB39}"/>
              </a:ext>
            </a:extLst>
          </p:cNvPr>
          <p:cNvSpPr/>
          <p:nvPr/>
        </p:nvSpPr>
        <p:spPr>
          <a:xfrm rot="19296076">
            <a:off x="6267844" y="375927"/>
            <a:ext cx="3139577" cy="3472391"/>
          </a:xfrm>
          <a:custGeom>
            <a:avLst/>
            <a:gdLst>
              <a:gd name="connsiteX0" fmla="*/ 0 w 3139577"/>
              <a:gd name="connsiteY0" fmla="*/ 5602905 h 5602919"/>
              <a:gd name="connsiteX1" fmla="*/ 1495180 w 3139577"/>
              <a:gd name="connsiteY1" fmla="*/ 5 h 5602919"/>
              <a:gd name="connsiteX2" fmla="*/ 1498370 w 3139577"/>
              <a:gd name="connsiteY2" fmla="*/ 15801 h 5602919"/>
              <a:gd name="connsiteX3" fmla="*/ 1569786 w 3139577"/>
              <a:gd name="connsiteY3" fmla="*/ 63139 h 5602919"/>
              <a:gd name="connsiteX4" fmla="*/ 1641202 w 3139577"/>
              <a:gd name="connsiteY4" fmla="*/ 15801 h 5602919"/>
              <a:gd name="connsiteX5" fmla="*/ 1644392 w 3139577"/>
              <a:gd name="connsiteY5" fmla="*/ 0 h 5602919"/>
              <a:gd name="connsiteX6" fmla="*/ 3139577 w 3139577"/>
              <a:gd name="connsiteY6" fmla="*/ 5602919 h 5602919"/>
              <a:gd name="connsiteX7" fmla="*/ 3074815 w 3139577"/>
              <a:gd name="connsiteY7" fmla="*/ 5468483 h 5602919"/>
              <a:gd name="connsiteX8" fmla="*/ 1569785 w 3139577"/>
              <a:gd name="connsiteY8" fmla="*/ 4572726 h 5602919"/>
              <a:gd name="connsiteX9" fmla="*/ 64755 w 3139577"/>
              <a:gd name="connsiteY9" fmla="*/ 5468483 h 5602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39577" h="5602919">
                <a:moveTo>
                  <a:pt x="0" y="5602905"/>
                </a:moveTo>
                <a:lnTo>
                  <a:pt x="1495180" y="5"/>
                </a:lnTo>
                <a:lnTo>
                  <a:pt x="1498370" y="15801"/>
                </a:lnTo>
                <a:cubicBezTo>
                  <a:pt x="1510136" y="43620"/>
                  <a:pt x="1537681" y="63139"/>
                  <a:pt x="1569786" y="63139"/>
                </a:cubicBezTo>
                <a:cubicBezTo>
                  <a:pt x="1601890" y="63139"/>
                  <a:pt x="1629436" y="43620"/>
                  <a:pt x="1641202" y="15801"/>
                </a:cubicBezTo>
                <a:lnTo>
                  <a:pt x="1644392" y="0"/>
                </a:lnTo>
                <a:lnTo>
                  <a:pt x="3139577" y="5602919"/>
                </a:lnTo>
                <a:lnTo>
                  <a:pt x="3074815" y="5468483"/>
                </a:lnTo>
                <a:cubicBezTo>
                  <a:pt x="2784972" y="4934930"/>
                  <a:pt x="2219677" y="4572726"/>
                  <a:pt x="1569785" y="4572726"/>
                </a:cubicBezTo>
                <a:cubicBezTo>
                  <a:pt x="919893" y="4572726"/>
                  <a:pt x="354598" y="4934930"/>
                  <a:pt x="64755" y="5468483"/>
                </a:cubicBezTo>
                <a:close/>
              </a:path>
            </a:pathLst>
          </a:custGeom>
          <a:gradFill>
            <a:gsLst>
              <a:gs pos="0">
                <a:schemeClr val="bg1">
                  <a:alpha val="55000"/>
                </a:schemeClr>
              </a:gs>
              <a:gs pos="100000">
                <a:schemeClr val="tx2">
                  <a:alpha val="1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CH"/>
          </a:p>
        </p:txBody>
      </p:sp>
      <p:pic>
        <p:nvPicPr>
          <p:cNvPr id="14" name="Picture 13" descr="A picture containing grass, sky, outdoor, nature&#10;&#10;Description automatically generated">
            <a:extLst>
              <a:ext uri="{FF2B5EF4-FFF2-40B4-BE49-F238E27FC236}">
                <a16:creationId xmlns:a16="http://schemas.microsoft.com/office/drawing/2014/main" id="{F99E0DDB-FF1D-FC20-B493-05E6DB9E9A6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584" r="20963"/>
          <a:stretch/>
        </p:blipFill>
        <p:spPr>
          <a:xfrm>
            <a:off x="7701558" y="2379427"/>
            <a:ext cx="3747788" cy="3751997"/>
          </a:xfrm>
          <a:prstGeom prst="ellipse">
            <a:avLst/>
          </a:prstGeom>
        </p:spPr>
      </p:pic>
      <p:sp>
        <p:nvSpPr>
          <p:cNvPr id="36" name="TextBox 35">
            <a:extLst>
              <a:ext uri="{FF2B5EF4-FFF2-40B4-BE49-F238E27FC236}">
                <a16:creationId xmlns:a16="http://schemas.microsoft.com/office/drawing/2014/main" id="{FA948DE3-4F0D-1E53-29BA-8988D76F74AE}"/>
              </a:ext>
            </a:extLst>
          </p:cNvPr>
          <p:cNvSpPr txBox="1"/>
          <p:nvPr/>
        </p:nvSpPr>
        <p:spPr>
          <a:xfrm>
            <a:off x="6902394" y="5004209"/>
            <a:ext cx="1462260" cy="646331"/>
          </a:xfrm>
          <a:prstGeom prst="rect">
            <a:avLst/>
          </a:prstGeom>
          <a:solidFill>
            <a:schemeClr val="tx2"/>
          </a:solidFill>
        </p:spPr>
        <p:txBody>
          <a:bodyPr wrap="none" rtlCol="0">
            <a:spAutoFit/>
          </a:bodyPr>
          <a:lstStyle/>
          <a:p>
            <a:r>
              <a:rPr lang="de-DE" dirty="0">
                <a:solidFill>
                  <a:schemeClr val="bg1"/>
                </a:solidFill>
              </a:rPr>
              <a:t>Test </a:t>
            </a:r>
            <a:r>
              <a:rPr lang="de-DE" dirty="0" err="1">
                <a:solidFill>
                  <a:schemeClr val="bg1"/>
                </a:solidFill>
              </a:rPr>
              <a:t>drilling</a:t>
            </a:r>
            <a:r>
              <a:rPr lang="de-DE" dirty="0">
                <a:solidFill>
                  <a:schemeClr val="bg1"/>
                </a:solidFill>
              </a:rPr>
              <a:t> in</a:t>
            </a:r>
          </a:p>
          <a:p>
            <a:r>
              <a:rPr lang="de-DE" dirty="0">
                <a:solidFill>
                  <a:schemeClr val="bg1"/>
                </a:solidFill>
              </a:rPr>
              <a:t>Cunnewitz</a:t>
            </a:r>
          </a:p>
        </p:txBody>
      </p:sp>
    </p:spTree>
    <p:extLst>
      <p:ext uri="{BB962C8B-B14F-4D97-AF65-F5344CB8AC3E}">
        <p14:creationId xmlns:p14="http://schemas.microsoft.com/office/powerpoint/2010/main" val="453121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6" grpId="0" animBg="1"/>
      <p:bldP spid="8" grpId="0" animBg="1"/>
      <p:bldP spid="3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picture containing text&#10;&#10;Description automatically generated">
            <a:extLst>
              <a:ext uri="{FF2B5EF4-FFF2-40B4-BE49-F238E27FC236}">
                <a16:creationId xmlns:a16="http://schemas.microsoft.com/office/drawing/2014/main" id="{65FD9C9F-F0CC-994F-8CCB-4D226CAC1A83}"/>
              </a:ext>
            </a:extLst>
          </p:cNvPr>
          <p:cNvPicPr>
            <a:picLocks noGrp="1" noChangeAspect="1"/>
          </p:cNvPicPr>
          <p:nvPr>
            <p:ph sz="quarter" idx="18"/>
          </p:nvPr>
        </p:nvPicPr>
        <p:blipFill rotWithShape="1">
          <a:blip r:embed="rId2"/>
          <a:srcRect b="15414"/>
          <a:stretch/>
        </p:blipFill>
        <p:spPr>
          <a:xfrm>
            <a:off x="20" y="10"/>
            <a:ext cx="12191980" cy="6857990"/>
          </a:xfrm>
          <a:noFill/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E97DD8-0F23-A362-3AA5-829B9B8709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elmholtz MU-Day</a:t>
            </a:r>
          </a:p>
        </p:txBody>
      </p:sp>
    </p:spTree>
    <p:extLst>
      <p:ext uri="{BB962C8B-B14F-4D97-AF65-F5344CB8AC3E}">
        <p14:creationId xmlns:p14="http://schemas.microsoft.com/office/powerpoint/2010/main" val="3262238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picture containing sky, outdoor&#10;&#10;Description automatically generated">
            <a:extLst>
              <a:ext uri="{FF2B5EF4-FFF2-40B4-BE49-F238E27FC236}">
                <a16:creationId xmlns:a16="http://schemas.microsoft.com/office/drawing/2014/main" id="{6622E1F2-7D1A-D840-8F5D-F18EA35D87A3}"/>
              </a:ext>
            </a:extLst>
          </p:cNvPr>
          <p:cNvPicPr>
            <a:picLocks noGrp="1" noChangeAspect="1"/>
          </p:cNvPicPr>
          <p:nvPr>
            <p:ph sz="quarter" idx="18"/>
          </p:nvPr>
        </p:nvPicPr>
        <p:blipFill rotWithShape="1">
          <a:blip r:embed="rId2"/>
          <a:srcRect t="15413"/>
          <a:stretch/>
        </p:blipFill>
        <p:spPr>
          <a:xfrm>
            <a:off x="20" y="10"/>
            <a:ext cx="12191980" cy="6857990"/>
          </a:xfrm>
          <a:noFill/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BFE18A-DE6C-D9FF-56FB-9825690FC1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Helmholtz MU-Day</a:t>
            </a:r>
          </a:p>
        </p:txBody>
      </p:sp>
    </p:spTree>
    <p:extLst>
      <p:ext uri="{BB962C8B-B14F-4D97-AF65-F5344CB8AC3E}">
        <p14:creationId xmlns:p14="http://schemas.microsoft.com/office/powerpoint/2010/main" val="2256804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Chart&#10;&#10;Description automatically generated">
            <a:extLst>
              <a:ext uri="{FF2B5EF4-FFF2-40B4-BE49-F238E27FC236}">
                <a16:creationId xmlns:a16="http://schemas.microsoft.com/office/drawing/2014/main" id="{6D24EF1E-66EC-E212-55DF-951D9C08BC9B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430" t="22983" r="49361" b="-268"/>
          <a:stretch/>
        </p:blipFill>
        <p:spPr>
          <a:xfrm>
            <a:off x="5937321" y="3333543"/>
            <a:ext cx="3180524" cy="2484900"/>
          </a:xfrm>
          <a:prstGeom prst="rect">
            <a:avLst/>
          </a:prstGeom>
        </p:spPr>
      </p:pic>
      <p:pic>
        <p:nvPicPr>
          <p:cNvPr id="13" name="Picture Placeholder 23">
            <a:extLst>
              <a:ext uri="{FF2B5EF4-FFF2-40B4-BE49-F238E27FC236}">
                <a16:creationId xmlns:a16="http://schemas.microsoft.com/office/drawing/2014/main" id="{2A702BB7-6F84-24FA-29C6-C2ED8A487CE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4"/>
          <a:srcRect t="990" b="990"/>
          <a:stretch/>
        </p:blipFill>
        <p:spPr>
          <a:xfrm>
            <a:off x="6096000" y="0"/>
            <a:ext cx="6096000" cy="308848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74208A-2706-C631-5ED1-A805606C6F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own to over 250m depth</a:t>
            </a:r>
            <a:endParaRPr lang="en-D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F0913C-0105-2417-E62A-74F29220D86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sz="1800" dirty="0"/>
              <a:t>A unique monolithic and smooth granite block with an extension of at least 20 km with a homogeneous damping and seismic isolation layer! </a:t>
            </a:r>
          </a:p>
          <a:p>
            <a:endParaRPr lang="en-GB" dirty="0"/>
          </a:p>
          <a:p>
            <a:endParaRPr lang="en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03197D-AD9E-DEA6-153E-057E5ABF73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288A0F-818B-FFDF-EFE7-0CEEC75092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7B1217-86F6-28F4-8698-167F2DFE8F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16</a:t>
            </a:fld>
            <a:endParaRPr lang="de-CH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96BDD73-D17E-BC21-9C5E-16B01FE58CD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095998" y="2757556"/>
            <a:ext cx="3568702" cy="330170"/>
          </a:xfrm>
        </p:spPr>
        <p:txBody>
          <a:bodyPr/>
          <a:lstStyle/>
          <a:p>
            <a:r>
              <a:rPr lang="en-GB" dirty="0"/>
              <a:t>DZA Master's thesis at the Freiberg Mining Academy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47BBC6A-B64D-610E-B724-819D4C21C84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DE" dirty="0"/>
              <a:t>In 180m depth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BA87BAE-3751-FA99-B083-B39DDB0E678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6000" y="5852964"/>
            <a:ext cx="1717964" cy="324000"/>
          </a:xfrm>
        </p:spPr>
        <p:txBody>
          <a:bodyPr/>
          <a:lstStyle/>
          <a:p>
            <a:r>
              <a:rPr lang="en-GB" dirty="0"/>
              <a:t>Surface measurement</a:t>
            </a:r>
            <a:endParaRPr lang="en-DE" dirty="0"/>
          </a:p>
        </p:txBody>
      </p:sp>
      <p:pic>
        <p:nvPicPr>
          <p:cNvPr id="22" name="Picture 28" descr="A picture containing grass, outdoor, ground, bench&#10;&#10;Description automatically generated">
            <a:extLst>
              <a:ext uri="{FF2B5EF4-FFF2-40B4-BE49-F238E27FC236}">
                <a16:creationId xmlns:a16="http://schemas.microsoft.com/office/drawing/2014/main" id="{4EEB8A89-F09A-8E92-1CC1-D64ABD4A5E2C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-323" t="3625" r="92" b="11354"/>
          <a:stretch/>
        </p:blipFill>
        <p:spPr>
          <a:xfrm>
            <a:off x="623614" y="3088482"/>
            <a:ext cx="5472384" cy="3088482"/>
          </a:xfrm>
          <a:prstGeom prst="rect">
            <a:avLst/>
          </a:prstGeom>
        </p:spPr>
      </p:pic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80177A72-1420-31A3-4725-A9F520C970AB}"/>
              </a:ext>
            </a:extLst>
          </p:cNvPr>
          <p:cNvSpPr txBox="1">
            <a:spLocks/>
          </p:cNvSpPr>
          <p:nvPr/>
        </p:nvSpPr>
        <p:spPr>
          <a:xfrm>
            <a:off x="650537" y="5852964"/>
            <a:ext cx="1055982" cy="324000"/>
          </a:xfrm>
          <a:prstGeom prst="rect">
            <a:avLst/>
          </a:prstGeom>
          <a:solidFill>
            <a:schemeClr val="tx2">
              <a:alpha val="80000"/>
            </a:schemeClr>
          </a:solidFill>
        </p:spPr>
        <p:txBody>
          <a:bodyPr vert="horz" wrap="square" lIns="180000" tIns="180000" rIns="180000" bIns="180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0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0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None/>
              <a:defRPr sz="1200" b="0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0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0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0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200" b="0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 cap="none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Drill cores</a:t>
            </a:r>
            <a:endParaRPr lang="en-DE" dirty="0"/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9AD0F23-2987-71AA-7AAA-D79271295781}"/>
              </a:ext>
            </a:extLst>
          </p:cNvPr>
          <p:cNvCxnSpPr/>
          <p:nvPr/>
        </p:nvCxnSpPr>
        <p:spPr>
          <a:xfrm>
            <a:off x="7762959" y="4732493"/>
            <a:ext cx="930584" cy="0"/>
          </a:xfrm>
          <a:prstGeom prst="line">
            <a:avLst/>
          </a:prstGeom>
          <a:ln w="1905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4FFC8FF5-1A7C-2B05-3DAF-832FC27EC3C9}"/>
              </a:ext>
            </a:extLst>
          </p:cNvPr>
          <p:cNvSpPr txBox="1"/>
          <p:nvPr/>
        </p:nvSpPr>
        <p:spPr>
          <a:xfrm>
            <a:off x="10104513" y="4363161"/>
            <a:ext cx="139493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chemeClr val="tx2"/>
                </a:solidFill>
              </a:rPr>
              <a:t>C</a:t>
            </a:r>
            <a:r>
              <a:rPr lang="en-DE" dirty="0">
                <a:solidFill>
                  <a:schemeClr val="tx2"/>
                </a:solidFill>
              </a:rPr>
              <a:t>oming so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9FA9A38-E399-6168-E619-E152FB9ED85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10604"/>
          <a:stretch/>
        </p:blipFill>
        <p:spPr>
          <a:xfrm>
            <a:off x="6164861" y="3098830"/>
            <a:ext cx="553998" cy="33017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0420F2A-9FA1-973E-B890-AEE785BFF8D0}"/>
              </a:ext>
            </a:extLst>
          </p:cNvPr>
          <p:cNvSpPr txBox="1"/>
          <p:nvPr/>
        </p:nvSpPr>
        <p:spPr>
          <a:xfrm>
            <a:off x="9039354" y="4977554"/>
            <a:ext cx="16247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DE" dirty="0">
                <a:solidFill>
                  <a:srgbClr val="FF0000"/>
                </a:solidFill>
              </a:rPr>
              <a:t>ET requirement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FF4F5351-6006-AB86-2C12-3C611A4F1E09}"/>
              </a:ext>
            </a:extLst>
          </p:cNvPr>
          <p:cNvCxnSpPr>
            <a:cxnSpLocks/>
          </p:cNvCxnSpPr>
          <p:nvPr/>
        </p:nvCxnSpPr>
        <p:spPr>
          <a:xfrm flipH="1" flipV="1">
            <a:off x="8371405" y="4743644"/>
            <a:ext cx="746440" cy="322536"/>
          </a:xfrm>
          <a:prstGeom prst="straightConnector1">
            <a:avLst/>
          </a:prstGeom>
          <a:ln w="127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64184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DBBE8CAB-2BEB-2371-C6BA-D63F4C74C6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0" imgH="409" progId="TCLayout.ActiveDocument.1">
                  <p:embed/>
                </p:oleObj>
              </mc:Choice>
              <mc:Fallback>
                <p:oleObj name="think-cell Folie" r:id="rId4" imgW="410" imgH="409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DBBE8CAB-2BEB-2371-C6BA-D63F4C74C6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54A27CA-3630-1846-E91F-1820C13004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he Low Seismic Lab</a:t>
            </a:r>
          </a:p>
        </p:txBody>
      </p:sp>
      <p:sp>
        <p:nvSpPr>
          <p:cNvPr id="63" name="Datumsplatzhalter 3">
            <a:extLst>
              <a:ext uri="{FF2B5EF4-FFF2-40B4-BE49-F238E27FC236}">
                <a16:creationId xmlns:a16="http://schemas.microsoft.com/office/drawing/2014/main" id="{BA4D42E6-3B25-2075-F1E4-1C1135FAF1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64" name="Footer Placeholder 3">
            <a:extLst>
              <a:ext uri="{FF2B5EF4-FFF2-40B4-BE49-F238E27FC236}">
                <a16:creationId xmlns:a16="http://schemas.microsoft.com/office/drawing/2014/main" id="{626C203A-8D9A-BA8C-B02A-CEF3CE887A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5633A492-E2FC-044D-35B4-29AE2575E8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pPr/>
              <a:t>17</a:t>
            </a:fld>
            <a:endParaRPr lang="de-CH"/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73328D75-9C8E-9536-FAD7-524A5C83EB63}"/>
              </a:ext>
            </a:extLst>
          </p:cNvPr>
          <p:cNvGrpSpPr>
            <a:grpSpLocks/>
          </p:cNvGrpSpPr>
          <p:nvPr/>
        </p:nvGrpSpPr>
        <p:grpSpPr>
          <a:xfrm>
            <a:off x="6303133" y="469355"/>
            <a:ext cx="2352589" cy="1355312"/>
            <a:chOff x="8091218" y="403786"/>
            <a:chExt cx="3632520" cy="2067977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00523F51-6359-86DB-925B-94ED81AF1BCE}"/>
                </a:ext>
              </a:extLst>
            </p:cNvPr>
            <p:cNvSpPr txBox="1"/>
            <p:nvPr/>
          </p:nvSpPr>
          <p:spPr bwMode="auto">
            <a:xfrm>
              <a:off x="9652127" y="931122"/>
              <a:ext cx="2047818" cy="1540641"/>
            </a:xfrm>
            <a:prstGeom prst="rect">
              <a:avLst/>
            </a:prstGeom>
            <a:noFill/>
          </p:spPr>
          <p:txBody>
            <a:bodyPr wrap="square" lIns="90937" tIns="45469" rIns="90937" bIns="45469">
              <a:spAutoFit/>
            </a:bodyPr>
            <a:lstStyle/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93" b="1" i="0" u="none" strike="noStrike" kern="0" cap="none" spc="0" normalizeH="0" baseline="0" noProof="0" dirty="0">
                  <a:ln>
                    <a:noFill/>
                  </a:ln>
                  <a:solidFill>
                    <a:srgbClr val="004899"/>
                  </a:solidFill>
                  <a:effectLst/>
                  <a:uLnTx/>
                  <a:uFillTx/>
                  <a:latin typeface="Neue Haas Grotesk Text Pro"/>
                  <a:cs typeface="Calibri" panose="020F0502020204030204" pitchFamily="34" charset="0"/>
                </a:rPr>
                <a:t>Low-</a:t>
              </a:r>
              <a:r>
                <a:rPr kumimoji="0" lang="de-DE" sz="1193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4899"/>
                  </a:solidFill>
                  <a:effectLst/>
                  <a:uLnTx/>
                  <a:uFillTx/>
                  <a:latin typeface="Neue Haas Grotesk Text Pro"/>
                  <a:cs typeface="Calibri" panose="020F0502020204030204" pitchFamily="34" charset="0"/>
                </a:rPr>
                <a:t>Seismic</a:t>
              </a:r>
              <a:r>
                <a:rPr kumimoji="0" lang="de-DE" sz="1193" b="1" i="0" u="none" strike="noStrike" kern="0" cap="none" spc="0" normalizeH="0" baseline="0" noProof="0" dirty="0">
                  <a:ln>
                    <a:noFill/>
                  </a:ln>
                  <a:solidFill>
                    <a:srgbClr val="004899"/>
                  </a:solidFill>
                  <a:effectLst/>
                  <a:uLnTx/>
                  <a:uFillTx/>
                  <a:latin typeface="Neue Haas Grotesk Text Pro"/>
                  <a:cs typeface="Calibri" panose="020F0502020204030204" pitchFamily="34" charset="0"/>
                </a:rPr>
                <a:t> Lab in </a:t>
              </a:r>
            </a:p>
            <a:p>
              <a:pPr marR="0" lvl="0" algn="l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93" b="1" i="0" u="none" strike="noStrike" kern="0" cap="none" spc="0" normalizeH="0" baseline="0" noProof="0" dirty="0">
                  <a:ln>
                    <a:noFill/>
                  </a:ln>
                  <a:solidFill>
                    <a:srgbClr val="004899"/>
                  </a:solidFill>
                  <a:effectLst/>
                  <a:uLnTx/>
                  <a:uFillTx/>
                  <a:latin typeface="Neue Haas Grotesk Text Pro"/>
                  <a:cs typeface="Calibri" panose="020F0502020204030204" pitchFamily="34" charset="0"/>
                </a:rPr>
                <a:t>einem seismischen Käfig</a:t>
              </a:r>
            </a:p>
          </p:txBody>
        </p:sp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984EF714-BEBD-EFFF-E41C-A8D0BF74C1E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r="18754" b="18276"/>
            <a:stretch/>
          </p:blipFill>
          <p:spPr bwMode="auto">
            <a:xfrm>
              <a:off x="8091218" y="403786"/>
              <a:ext cx="3632520" cy="1906105"/>
            </a:xfrm>
            <a:prstGeom prst="rect">
              <a:avLst/>
            </a:prstGeom>
            <a:solidFill>
              <a:srgbClr val="004899"/>
            </a:solidFill>
            <a:ln w="28575">
              <a:noFill/>
            </a:ln>
          </p:spPr>
        </p:pic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F715BC34-94CB-5618-3467-88E6F9DF8607}"/>
                </a:ext>
              </a:extLst>
            </p:cNvPr>
            <p:cNvSpPr/>
            <p:nvPr/>
          </p:nvSpPr>
          <p:spPr bwMode="auto">
            <a:xfrm>
              <a:off x="9838351" y="1299301"/>
              <a:ext cx="216024" cy="216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cs typeface="Calibri" panose="020F0502020204030204" pitchFamily="34" charset="0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ABF3A25E-F3E2-9A2F-0E59-1474FF1873C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381403" y="815042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cs typeface="Calibri" panose="020F0502020204030204" pitchFamily="34" charset="0"/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6357EDB9-5F1E-AF4C-2AD0-AE78E0B30E6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914720" y="824130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cs typeface="Calibri" panose="020F0502020204030204" pitchFamily="34" charset="0"/>
              </a:endParaRP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E89DDECD-B447-C507-4732-3719F7A0476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450997" y="824130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cs typeface="Calibri" panose="020F0502020204030204" pitchFamily="34" charset="0"/>
              </a:endParaRP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F63AEB7F-979B-438D-0112-26599B02FB6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646582" y="824130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cs typeface="Calibri" panose="020F0502020204030204" pitchFamily="34" charset="0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8C3D687C-DEA3-EB3E-ED21-8495A4DF225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182858" y="824130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cs typeface="Calibri" panose="020F0502020204030204" pitchFamily="34" charset="0"/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0757818E-1B34-EE27-4F10-C5B3C60A346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381403" y="1887763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cs typeface="Calibri" panose="020F0502020204030204" pitchFamily="34" charset="0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EF4DF0B1-176B-D4EF-F7B8-E7046AA2FFD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914720" y="1896851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cs typeface="Calibri" panose="020F0502020204030204" pitchFamily="34" charset="0"/>
              </a:endParaRPr>
            </a:p>
          </p:txBody>
        </p:sp>
        <p:sp>
          <p:nvSpPr>
            <p:cNvPr id="44" name="Oval 43">
              <a:extLst>
                <a:ext uri="{FF2B5EF4-FFF2-40B4-BE49-F238E27FC236}">
                  <a16:creationId xmlns:a16="http://schemas.microsoft.com/office/drawing/2014/main" id="{AEE10DEF-95EF-5CA1-98D4-175CDC58E62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450997" y="1896851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cs typeface="Calibri" panose="020F0502020204030204" pitchFamily="34" charset="0"/>
              </a:endParaRPr>
            </a:p>
          </p:txBody>
        </p:sp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75368DD2-25EE-C3FD-AC26-46255661DDD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646582" y="1896851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cs typeface="Calibri" panose="020F0502020204030204" pitchFamily="34" charset="0"/>
              </a:endParaRPr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A9183013-1A61-08FD-A289-09B049EEF22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182858" y="1896851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cs typeface="Calibri" panose="020F0502020204030204" pitchFamily="34" charset="0"/>
              </a:endParaRPr>
            </a:p>
          </p:txBody>
        </p:sp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6AF0F60F-73AA-2831-74C6-211B7166312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370169" y="1367339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cs typeface="Calibri" panose="020F0502020204030204" pitchFamily="34" charset="0"/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B8539C7B-6D24-9FE9-3816-471E37772C4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903486" y="1376427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cs typeface="Calibri" panose="020F0502020204030204" pitchFamily="34" charset="0"/>
              </a:endParaRPr>
            </a:p>
          </p:txBody>
        </p:sp>
        <p:sp>
          <p:nvSpPr>
            <p:cNvPr id="49" name="Oval 48">
              <a:extLst>
                <a:ext uri="{FF2B5EF4-FFF2-40B4-BE49-F238E27FC236}">
                  <a16:creationId xmlns:a16="http://schemas.microsoft.com/office/drawing/2014/main" id="{700E49C2-1B72-E41C-B9E1-CE917ABBBE7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439763" y="1376427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cs typeface="Calibri" panose="020F0502020204030204" pitchFamily="34" charset="0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7113FF43-374C-0FDE-E246-668E3AB5A84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635348" y="1376427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cs typeface="Calibri" panose="020F0502020204030204" pitchFamily="34" charset="0"/>
              </a:endParaRP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CF6E06AF-7C7A-313F-522C-67440360426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171624" y="1376427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cs typeface="Calibri" panose="020F0502020204030204" pitchFamily="34" charset="0"/>
              </a:endParaRPr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A2D81038-3C41-D484-B681-4F1609D408A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374161" y="1089009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cs typeface="Calibri" panose="020F0502020204030204" pitchFamily="34" charset="0"/>
              </a:endParaRPr>
            </a:p>
          </p:txBody>
        </p: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50AB1DA9-5D10-23CB-2F42-5F26B36F8B4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907478" y="1098097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cs typeface="Calibri" panose="020F0502020204030204" pitchFamily="34" charset="0"/>
              </a:endParaRPr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1CBE6BAD-B272-0EE3-088E-A2ECE58D4ED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443755" y="1098097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cs typeface="Calibri" panose="020F0502020204030204" pitchFamily="34" charset="0"/>
              </a:endParaRP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85AA2195-9CA1-68B2-0BEE-6D3C5A0BCF8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639340" y="1098097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cs typeface="Calibri" panose="020F0502020204030204" pitchFamily="34" charset="0"/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BDD2D924-A2F7-C390-1D76-0DD772BDBFFC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175616" y="1098097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cs typeface="Calibri" panose="020F0502020204030204" pitchFamily="34" charset="0"/>
              </a:endParaRPr>
            </a:p>
          </p:txBody>
        </p:sp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1B137692-9223-D2A4-6FC3-09C790D15FE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370169" y="1617881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cs typeface="Calibri" panose="020F0502020204030204" pitchFamily="34" charset="0"/>
              </a:endParaRPr>
            </a:p>
          </p:txBody>
        </p:sp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81396BDF-D36D-F22F-3936-37DD2C67C8A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903486" y="1626969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cs typeface="Calibri" panose="020F0502020204030204" pitchFamily="34" charset="0"/>
              </a:endParaRPr>
            </a:p>
          </p:txBody>
        </p:sp>
        <p:sp>
          <p:nvSpPr>
            <p:cNvPr id="59" name="Oval 58">
              <a:extLst>
                <a:ext uri="{FF2B5EF4-FFF2-40B4-BE49-F238E27FC236}">
                  <a16:creationId xmlns:a16="http://schemas.microsoft.com/office/drawing/2014/main" id="{29ECD173-A241-4B79-E0F7-46EBFBFEE9F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439763" y="1626969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cs typeface="Calibri" panose="020F0502020204030204" pitchFamily="34" charset="0"/>
              </a:endParaRPr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DD876C07-B14C-62C4-DC6E-7FDDBCD77F1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9635348" y="1626969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cs typeface="Calibri" panose="020F0502020204030204" pitchFamily="34" charset="0"/>
              </a:endParaRPr>
            </a:p>
          </p:txBody>
        </p:sp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9E02BE37-F361-0CF5-6235-380523C9508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0171624" y="1626969"/>
              <a:ext cx="72008" cy="72000"/>
            </a:xfrm>
            <a:prstGeom prst="ellipse">
              <a:avLst/>
            </a:prstGeom>
            <a:solidFill>
              <a:srgbClr val="0048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0937" tIns="45469" rIns="90937" bIns="45469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eue Haas Grotesk Text Pro"/>
                <a:cs typeface="Calibri" panose="020F0502020204030204" pitchFamily="34" charset="0"/>
              </a:endParaRPr>
            </a:p>
          </p:txBody>
        </p:sp>
        <p:pic>
          <p:nvPicPr>
            <p:cNvPr id="62" name="Picture 61" descr="Logo&#10;&#10;Description automatically generated">
              <a:extLst>
                <a:ext uri="{FF2B5EF4-FFF2-40B4-BE49-F238E27FC236}">
                  <a16:creationId xmlns:a16="http://schemas.microsoft.com/office/drawing/2014/main" id="{521E6775-EDC7-0877-0C70-853BEC11668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/>
          </p:blipFill>
          <p:spPr bwMode="auto">
            <a:xfrm>
              <a:off x="8216584" y="1515301"/>
              <a:ext cx="944410" cy="492736"/>
            </a:xfrm>
            <a:prstGeom prst="rect">
              <a:avLst/>
            </a:prstGeom>
          </p:spPr>
        </p:pic>
      </p:grpSp>
      <p:pic>
        <p:nvPicPr>
          <p:cNvPr id="66" name="Picture 3" descr="A picture containing text, indoor, wall, floor&#10;&#10;Description automatically generated">
            <a:extLst>
              <a:ext uri="{FF2B5EF4-FFF2-40B4-BE49-F238E27FC236}">
                <a16:creationId xmlns:a16="http://schemas.microsoft.com/office/drawing/2014/main" id="{69471042-9D44-AF4E-DE96-D7E6BC5858D3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83"/>
          <a:stretch/>
        </p:blipFill>
        <p:spPr>
          <a:xfrm>
            <a:off x="6098102" y="2765171"/>
            <a:ext cx="6096000" cy="3411793"/>
          </a:xfrm>
          <a:prstGeom prst="rect">
            <a:avLst/>
          </a:prstGeom>
          <a:noFill/>
        </p:spPr>
      </p:pic>
      <p:pic>
        <p:nvPicPr>
          <p:cNvPr id="3" name="Grafik 91">
            <a:extLst>
              <a:ext uri="{FF2B5EF4-FFF2-40B4-BE49-F238E27FC236}">
                <a16:creationId xmlns:a16="http://schemas.microsoft.com/office/drawing/2014/main" id="{8D72C3C2-7722-A38D-C92A-4FDE2899447A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59811" y="478725"/>
            <a:ext cx="725434" cy="1945703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id="{C8DEB59E-6C0A-8931-710C-4645A1595A02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979927" y="478725"/>
            <a:ext cx="1112645" cy="1945703"/>
          </a:xfrm>
          <a:prstGeom prst="rect">
            <a:avLst/>
          </a:prstGeom>
          <a:ln w="9320">
            <a:solidFill>
              <a:schemeClr val="bg1"/>
            </a:solidFill>
          </a:ln>
        </p:spPr>
      </p:pic>
      <p:pic>
        <p:nvPicPr>
          <p:cNvPr id="5" name="Picture 10">
            <a:extLst>
              <a:ext uri="{FF2B5EF4-FFF2-40B4-BE49-F238E27FC236}">
                <a16:creationId xmlns:a16="http://schemas.microsoft.com/office/drawing/2014/main" id="{337CA1B9-6A91-D110-0E2E-DADFBD9D2520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822960" y="478725"/>
            <a:ext cx="989729" cy="1246106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7" name="Picture 16" descr="Master of Physics – Faculty of Mathematics and Physics – Leibniz University  Hannover">
            <a:extLst>
              <a:ext uri="{FF2B5EF4-FFF2-40B4-BE49-F238E27FC236}">
                <a16:creationId xmlns:a16="http://schemas.microsoft.com/office/drawing/2014/main" id="{F34A01EF-72C4-D329-DE3F-3F62FDA12D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3132" y="1837437"/>
            <a:ext cx="1279864" cy="594590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5">
            <a:extLst>
              <a:ext uri="{FF2B5EF4-FFF2-40B4-BE49-F238E27FC236}">
                <a16:creationId xmlns:a16="http://schemas.microsoft.com/office/drawing/2014/main" id="{A0E4ACBB-1BF6-D8BE-DE09-3FAD7DB671E8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32" r="1919"/>
          <a:stretch/>
        </p:blipFill>
        <p:spPr bwMode="auto">
          <a:xfrm>
            <a:off x="7675133" y="1837437"/>
            <a:ext cx="1690765" cy="594590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8550488B-C77E-E51B-3A54-74294C631ECA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458036" y="1835481"/>
            <a:ext cx="354653" cy="596546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B34E8656-DCDD-816C-8F5A-6095C19B51D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Innovation </a:t>
            </a:r>
            <a:r>
              <a:rPr lang="de-DE" dirty="0" err="1"/>
              <a:t>platform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approx</a:t>
            </a:r>
            <a:r>
              <a:rPr lang="de-DE" dirty="0"/>
              <a:t>. (40 x 30 x 30) m</a:t>
            </a:r>
            <a:r>
              <a:rPr lang="de-DE" baseline="30000" dirty="0"/>
              <a:t>3</a:t>
            </a:r>
            <a:r>
              <a:rPr lang="de-DE" dirty="0"/>
              <a:t> in 200m </a:t>
            </a:r>
            <a:r>
              <a:rPr lang="de-DE" dirty="0" err="1"/>
              <a:t>depth</a:t>
            </a:r>
            <a:r>
              <a:rPr lang="de-DE" dirty="0"/>
              <a:t>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usatian</a:t>
            </a:r>
            <a:r>
              <a:rPr lang="de-DE" dirty="0"/>
              <a:t> </a:t>
            </a:r>
            <a:r>
              <a:rPr lang="de-DE" dirty="0" err="1"/>
              <a:t>granite</a:t>
            </a:r>
            <a:endParaRPr lang="de-DE" dirty="0"/>
          </a:p>
          <a:p>
            <a:r>
              <a:rPr lang="de-DE" dirty="0" err="1"/>
              <a:t>With</a:t>
            </a:r>
            <a:r>
              <a:rPr lang="de-DE" dirty="0"/>
              <a:t> a </a:t>
            </a:r>
            <a:r>
              <a:rPr lang="de-DE" dirty="0" err="1"/>
              <a:t>square</a:t>
            </a:r>
            <a:r>
              <a:rPr lang="de-DE" dirty="0"/>
              <a:t> </a:t>
            </a:r>
            <a:r>
              <a:rPr lang="de-DE" dirty="0" err="1"/>
              <a:t>kilometre</a:t>
            </a:r>
            <a:r>
              <a:rPr lang="de-DE" dirty="0"/>
              <a:t> 3D </a:t>
            </a:r>
            <a:r>
              <a:rPr lang="de-DE" dirty="0" err="1"/>
              <a:t>seismometer</a:t>
            </a:r>
            <a:r>
              <a:rPr lang="de-DE" dirty="0"/>
              <a:t> </a:t>
            </a:r>
            <a:r>
              <a:rPr lang="de-DE" dirty="0" err="1"/>
              <a:t>sensor</a:t>
            </a:r>
            <a:r>
              <a:rPr lang="de-DE" dirty="0"/>
              <a:t> </a:t>
            </a:r>
            <a:r>
              <a:rPr lang="de-DE" dirty="0" err="1"/>
              <a:t>array</a:t>
            </a:r>
            <a:r>
              <a:rPr lang="de-DE" dirty="0"/>
              <a:t>.</a:t>
            </a:r>
          </a:p>
          <a:p>
            <a:pPr marL="285750" indent="-285750">
              <a:buFont typeface="Wingdings" panose="05000000000000000000" pitchFamily="2" charset="2"/>
              <a:buChar char="à"/>
            </a:pPr>
            <a:r>
              <a:rPr lang="de-DE" dirty="0"/>
              <a:t>Metrological </a:t>
            </a:r>
            <a:r>
              <a:rPr lang="de-DE" dirty="0" err="1"/>
              <a:t>valid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advanced</a:t>
            </a:r>
            <a:r>
              <a:rPr lang="de-DE" dirty="0"/>
              <a:t> </a:t>
            </a:r>
            <a:r>
              <a:rPr lang="de-DE" dirty="0" err="1"/>
              <a:t>seismic</a:t>
            </a:r>
            <a:r>
              <a:rPr lang="de-DE" dirty="0"/>
              <a:t> </a:t>
            </a:r>
            <a:r>
              <a:rPr lang="de-DE" dirty="0" err="1"/>
              <a:t>isolation</a:t>
            </a:r>
            <a:r>
              <a:rPr lang="de-DE" dirty="0"/>
              <a:t> </a:t>
            </a:r>
            <a:r>
              <a:rPr lang="de-DE" dirty="0" err="1"/>
              <a:t>concepts</a:t>
            </a:r>
            <a:r>
              <a:rPr lang="de-DE" dirty="0"/>
              <a:t> on a large </a:t>
            </a:r>
            <a:r>
              <a:rPr lang="de-DE" dirty="0" err="1"/>
              <a:t>scale</a:t>
            </a:r>
            <a:endParaRPr lang="de-DE" dirty="0"/>
          </a:p>
          <a:p>
            <a:endParaRPr lang="de-DE" dirty="0"/>
          </a:p>
          <a:p>
            <a:pPr lvl="7"/>
            <a:r>
              <a:rPr lang="de-DE" dirty="0"/>
              <a:t>The </a:t>
            </a:r>
            <a:r>
              <a:rPr lang="de-DE" dirty="0" err="1"/>
              <a:t>plac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future</a:t>
            </a:r>
            <a:r>
              <a:rPr lang="de-DE" dirty="0"/>
              <a:t> "</a:t>
            </a:r>
            <a:r>
              <a:rPr lang="de-DE" dirty="0" err="1"/>
              <a:t>deep</a:t>
            </a:r>
            <a:r>
              <a:rPr lang="de-DE" dirty="0"/>
              <a:t> </a:t>
            </a:r>
            <a:r>
              <a:rPr lang="de-DE" dirty="0" err="1"/>
              <a:t>tech</a:t>
            </a:r>
            <a:r>
              <a:rPr lang="de-DE" dirty="0"/>
              <a:t>":</a:t>
            </a:r>
          </a:p>
          <a:p>
            <a:pPr lvl="1"/>
            <a:r>
              <a:rPr lang="de-DE" dirty="0"/>
              <a:t>Technology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gravitational</a:t>
            </a:r>
            <a:r>
              <a:rPr lang="de-DE" dirty="0"/>
              <a:t> </a:t>
            </a:r>
            <a:r>
              <a:rPr lang="de-DE" dirty="0" err="1"/>
              <a:t>wave</a:t>
            </a:r>
            <a:r>
              <a:rPr lang="de-DE" dirty="0"/>
              <a:t> </a:t>
            </a:r>
            <a:r>
              <a:rPr lang="de-DE" dirty="0" err="1"/>
              <a:t>astronomy</a:t>
            </a:r>
            <a:endParaRPr lang="de-DE" dirty="0"/>
          </a:p>
          <a:p>
            <a:pPr lvl="1"/>
            <a:r>
              <a:rPr lang="de-DE" dirty="0"/>
              <a:t>Adaptive </a:t>
            </a:r>
            <a:r>
              <a:rPr lang="de-DE" dirty="0" err="1"/>
              <a:t>seismic</a:t>
            </a:r>
            <a:r>
              <a:rPr lang="de-DE" dirty="0"/>
              <a:t> </a:t>
            </a:r>
            <a:r>
              <a:rPr lang="de-DE" dirty="0" err="1"/>
              <a:t>noise</a:t>
            </a:r>
            <a:r>
              <a:rPr lang="de-DE" dirty="0"/>
              <a:t> </a:t>
            </a:r>
            <a:r>
              <a:rPr lang="de-DE" dirty="0" err="1"/>
              <a:t>reduction</a:t>
            </a:r>
            <a:endParaRPr lang="de-DE" dirty="0"/>
          </a:p>
          <a:p>
            <a:pPr lvl="1"/>
            <a:r>
              <a:rPr lang="de-DE" dirty="0"/>
              <a:t>Subnanometer </a:t>
            </a:r>
            <a:r>
              <a:rPr lang="de-DE" dirty="0" err="1"/>
              <a:t>microscopy</a:t>
            </a:r>
            <a:r>
              <a:rPr lang="de-DE" dirty="0"/>
              <a:t> and </a:t>
            </a:r>
            <a:r>
              <a:rPr lang="de-DE" dirty="0" err="1"/>
              <a:t>photolithography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Quantum </a:t>
            </a:r>
            <a:r>
              <a:rPr lang="de-DE" dirty="0" err="1"/>
              <a:t>computing</a:t>
            </a:r>
            <a:r>
              <a:rPr lang="de-DE" dirty="0"/>
              <a:t> </a:t>
            </a:r>
            <a:r>
              <a:rPr lang="de-DE" dirty="0" err="1"/>
              <a:t>experiments</a:t>
            </a:r>
            <a:endParaRPr lang="de-DE" dirty="0"/>
          </a:p>
          <a:p>
            <a:pPr lvl="1"/>
            <a:r>
              <a:rPr lang="de-DE" dirty="0" err="1"/>
              <a:t>Astrophysic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accelerators</a:t>
            </a:r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9" name="Textplatzhalter 46">
            <a:extLst>
              <a:ext uri="{FF2B5EF4-FFF2-40B4-BE49-F238E27FC236}">
                <a16:creationId xmlns:a16="http://schemas.microsoft.com/office/drawing/2014/main" id="{C7775BA8-E38B-F350-5CE8-50779B95A7E5}"/>
              </a:ext>
            </a:extLst>
          </p:cNvPr>
          <p:cNvSpPr txBox="1">
            <a:spLocks/>
          </p:cNvSpPr>
          <p:nvPr/>
        </p:nvSpPr>
        <p:spPr>
          <a:xfrm>
            <a:off x="11092572" y="5816964"/>
            <a:ext cx="1108664" cy="360000"/>
          </a:xfrm>
          <a:prstGeom prst="rect">
            <a:avLst/>
          </a:prstGeom>
          <a:solidFill>
            <a:schemeClr val="tx2">
              <a:alpha val="80000"/>
            </a:schemeClr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0" indent="-216000" algn="l" defTabSz="914400" rtl="0" eaLnBrk="1" latinLnBrk="0" hangingPunct="1">
              <a:lnSpc>
                <a:spcPct val="105000"/>
              </a:lnSpc>
              <a:spcBef>
                <a:spcPts val="18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 cap="all" spc="70" baseline="0">
                <a:gradFill>
                  <a:gsLst>
                    <a:gs pos="73441">
                      <a:srgbClr val="006B99"/>
                    </a:gs>
                    <a:gs pos="31900">
                      <a:srgbClr val="00579A"/>
                    </a:gs>
                    <a:gs pos="0">
                      <a:srgbClr val="00499A"/>
                    </a:gs>
                    <a:gs pos="100000">
                      <a:srgbClr val="007B98"/>
                    </a:gs>
                  </a:gsLst>
                  <a:lin ang="0" scaled="0"/>
                </a:gra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de-CH" dirty="0">
                <a:solidFill>
                  <a:schemeClr val="bg1"/>
                </a:solidFill>
              </a:rPr>
              <a:t>NIKHEF, NL</a:t>
            </a:r>
          </a:p>
        </p:txBody>
      </p:sp>
    </p:spTree>
    <p:extLst>
      <p:ext uri="{BB962C8B-B14F-4D97-AF65-F5344CB8AC3E}">
        <p14:creationId xmlns:p14="http://schemas.microsoft.com/office/powerpoint/2010/main" val="3017822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583C044-BE5A-F271-F9A0-5E8EC46341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0" imgH="409" progId="TCLayout.ActiveDocument.1">
                  <p:embed/>
                </p:oleObj>
              </mc:Choice>
              <mc:Fallback>
                <p:oleObj name="think-cell Folie" r:id="rId4" imgW="410" imgH="409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583C044-BE5A-F271-F9A0-5E8EC46341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489882A1-6B84-F549-A44E-9F6EF30355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role of the DZA in the Einstein Telescope</a:t>
            </a:r>
            <a:endParaRPr lang="en-D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D2137D-C213-7357-4E3A-447243B515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C33588-022E-535C-3A45-F3C6DCE863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273DCF2-E70A-D3CB-56EC-9E9020D85C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pPr/>
              <a:t>18</a:t>
            </a:fld>
            <a:endParaRPr lang="de-CH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3C1A871-806D-28A7-E462-C5062D8FC8AD}"/>
              </a:ext>
            </a:extLst>
          </p:cNvPr>
          <p:cNvSpPr txBox="1">
            <a:spLocks/>
          </p:cNvSpPr>
          <p:nvPr/>
        </p:nvSpPr>
        <p:spPr>
          <a:xfrm>
            <a:off x="6095999" y="3429000"/>
            <a:ext cx="5376599" cy="4588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ct val="105000"/>
              </a:lnSpc>
              <a:spcBef>
                <a:spcPts val="18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 cap="all" spc="70" baseline="0">
                <a:gradFill>
                  <a:gsLst>
                    <a:gs pos="73441">
                      <a:srgbClr val="006B99"/>
                    </a:gs>
                    <a:gs pos="31900">
                      <a:srgbClr val="00579A"/>
                    </a:gs>
                    <a:gs pos="0">
                      <a:srgbClr val="00499A"/>
                    </a:gs>
                    <a:gs pos="100000">
                      <a:srgbClr val="007B98"/>
                    </a:gs>
                  </a:gsLst>
                  <a:lin ang="0" scaled="0"/>
                </a:gra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endParaRPr lang="en-DE" dirty="0"/>
          </a:p>
        </p:txBody>
      </p:sp>
      <p:pic>
        <p:nvPicPr>
          <p:cNvPr id="22" name="Picture 2" descr="A picture containing indoor, worktable&#10;&#10;Description automatically generated">
            <a:extLst>
              <a:ext uri="{FF2B5EF4-FFF2-40B4-BE49-F238E27FC236}">
                <a16:creationId xmlns:a16="http://schemas.microsoft.com/office/drawing/2014/main" id="{DB5D3CF6-B8CE-6250-88B4-335902E4F28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4933" b="4933"/>
          <a:stretch/>
        </p:blipFill>
        <p:spPr>
          <a:xfrm>
            <a:off x="6096000" y="0"/>
            <a:ext cx="6096000" cy="3088482"/>
          </a:xfrm>
          <a:prstGeom prst="rect">
            <a:avLst/>
          </a:prstGeom>
        </p:spPr>
      </p:pic>
      <p:sp>
        <p:nvSpPr>
          <p:cNvPr id="23" name="Textplatzhalter 46">
            <a:extLst>
              <a:ext uri="{FF2B5EF4-FFF2-40B4-BE49-F238E27FC236}">
                <a16:creationId xmlns:a16="http://schemas.microsoft.com/office/drawing/2014/main" id="{A533CD4D-DBE3-46F2-D198-A4CDB6006B6A}"/>
              </a:ext>
            </a:extLst>
          </p:cNvPr>
          <p:cNvSpPr txBox="1">
            <a:spLocks/>
          </p:cNvSpPr>
          <p:nvPr/>
        </p:nvSpPr>
        <p:spPr>
          <a:xfrm>
            <a:off x="9448800" y="2728482"/>
            <a:ext cx="2743200" cy="360000"/>
          </a:xfrm>
          <a:prstGeom prst="rect">
            <a:avLst/>
          </a:prstGeom>
          <a:solidFill>
            <a:schemeClr val="tx2">
              <a:alpha val="80000"/>
            </a:schemeClr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0" indent="-216000" algn="l" defTabSz="914400" rtl="0" eaLnBrk="1" latinLnBrk="0" hangingPunct="1">
              <a:lnSpc>
                <a:spcPct val="105000"/>
              </a:lnSpc>
              <a:spcBef>
                <a:spcPts val="18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 cap="all" spc="70" baseline="0">
                <a:gradFill>
                  <a:gsLst>
                    <a:gs pos="73441">
                      <a:srgbClr val="006B99"/>
                    </a:gs>
                    <a:gs pos="31900">
                      <a:srgbClr val="00579A"/>
                    </a:gs>
                    <a:gs pos="0">
                      <a:srgbClr val="00499A"/>
                    </a:gs>
                    <a:gs pos="100000">
                      <a:srgbClr val="007B98"/>
                    </a:gs>
                  </a:gsLst>
                  <a:lin ang="0" scaled="0"/>
                </a:gra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de-CH" dirty="0">
                <a:solidFill>
                  <a:schemeClr val="bg1"/>
                </a:solidFill>
              </a:rPr>
              <a:t>Einstein </a:t>
            </a:r>
            <a:r>
              <a:rPr lang="de-CH" dirty="0" err="1">
                <a:solidFill>
                  <a:schemeClr val="bg1"/>
                </a:solidFill>
              </a:rPr>
              <a:t>Telescope</a:t>
            </a:r>
            <a:r>
              <a:rPr lang="de-CH" dirty="0">
                <a:solidFill>
                  <a:schemeClr val="bg1"/>
                </a:solidFill>
              </a:rPr>
              <a:t>, NIKHEF, NL</a:t>
            </a:r>
          </a:p>
        </p:txBody>
      </p:sp>
      <p:sp>
        <p:nvSpPr>
          <p:cNvPr id="31" name="Textplatzhalter 29">
            <a:extLst>
              <a:ext uri="{FF2B5EF4-FFF2-40B4-BE49-F238E27FC236}">
                <a16:creationId xmlns:a16="http://schemas.microsoft.com/office/drawing/2014/main" id="{56340126-1DE6-F06A-BFC6-845586CF2850}"/>
              </a:ext>
            </a:extLst>
          </p:cNvPr>
          <p:cNvSpPr txBox="1">
            <a:spLocks/>
          </p:cNvSpPr>
          <p:nvPr/>
        </p:nvSpPr>
        <p:spPr>
          <a:xfrm>
            <a:off x="719400" y="1588656"/>
            <a:ext cx="5151048" cy="45883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0" indent="-216000" algn="l" defTabSz="914400" rtl="0" eaLnBrk="1" latinLnBrk="0" hangingPunct="1">
              <a:lnSpc>
                <a:spcPct val="105000"/>
              </a:lnSpc>
              <a:spcBef>
                <a:spcPts val="18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 cap="all" spc="70" baseline="0">
                <a:gradFill>
                  <a:gsLst>
                    <a:gs pos="73441">
                      <a:srgbClr val="006B99"/>
                    </a:gs>
                    <a:gs pos="31900">
                      <a:srgbClr val="00579A"/>
                    </a:gs>
                    <a:gs pos="0">
                      <a:srgbClr val="00499A"/>
                    </a:gs>
                    <a:gs pos="100000">
                      <a:srgbClr val="007B98"/>
                    </a:gs>
                  </a:gsLst>
                  <a:lin ang="0" scaled="0"/>
                </a:gra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7">
              <a:spcAft>
                <a:spcPts val="200"/>
              </a:spcAft>
            </a:pPr>
            <a:r>
              <a:rPr lang="de-DE" dirty="0" err="1"/>
              <a:t>Three</a:t>
            </a:r>
            <a:r>
              <a:rPr lang="de-DE" dirty="0"/>
              <a:t> </a:t>
            </a:r>
            <a:r>
              <a:rPr lang="de-DE" dirty="0" err="1"/>
              <a:t>possibilities</a:t>
            </a:r>
            <a:r>
              <a:rPr lang="de-DE" dirty="0"/>
              <a:t>:</a:t>
            </a:r>
          </a:p>
          <a:p>
            <a:pPr lvl="7">
              <a:spcAft>
                <a:spcPts val="200"/>
              </a:spcAft>
            </a:pPr>
            <a:endParaRPr lang="de-DE" dirty="0"/>
          </a:p>
          <a:p>
            <a:pPr marL="342900" lvl="1" indent="-342900">
              <a:spcBef>
                <a:spcPts val="500"/>
              </a:spcBef>
              <a:buFont typeface="+mj-lt"/>
              <a:buAutoNum type="arabicPeriod"/>
            </a:pPr>
            <a:r>
              <a:rPr lang="de-DE" b="1" dirty="0" err="1">
                <a:solidFill>
                  <a:schemeClr val="tx2"/>
                </a:solidFill>
                <a:latin typeface="+mj-lt"/>
              </a:rPr>
              <a:t>No</a:t>
            </a:r>
            <a:r>
              <a:rPr lang="de-DE" b="1" dirty="0">
                <a:solidFill>
                  <a:schemeClr val="tx2"/>
                </a:solidFill>
                <a:latin typeface="+mj-lt"/>
              </a:rPr>
              <a:t> ET</a:t>
            </a:r>
            <a:br>
              <a:rPr lang="de-DE" b="1" dirty="0">
                <a:solidFill>
                  <a:schemeClr val="tx2"/>
                </a:solidFill>
                <a:latin typeface="+mj-lt"/>
              </a:rPr>
            </a:br>
            <a:r>
              <a:rPr lang="de-DE" dirty="0"/>
              <a:t>The DZA will </a:t>
            </a:r>
            <a:r>
              <a:rPr lang="de-DE" dirty="0" err="1"/>
              <a:t>participate</a:t>
            </a:r>
            <a:r>
              <a:rPr lang="de-DE" dirty="0"/>
              <a:t> in </a:t>
            </a:r>
            <a:r>
              <a:rPr lang="de-DE" dirty="0" err="1"/>
              <a:t>other</a:t>
            </a:r>
            <a:r>
              <a:rPr lang="de-DE" dirty="0"/>
              <a:t> international </a:t>
            </a:r>
            <a:r>
              <a:rPr lang="de-DE" dirty="0" err="1"/>
              <a:t>projec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Low </a:t>
            </a:r>
            <a:r>
              <a:rPr lang="de-DE" dirty="0" err="1"/>
              <a:t>Seismic</a:t>
            </a:r>
            <a:r>
              <a:rPr lang="de-DE" dirty="0"/>
              <a:t> Lab (e.g. </a:t>
            </a:r>
            <a:r>
              <a:rPr lang="de-DE" dirty="0" err="1"/>
              <a:t>Cosmic</a:t>
            </a:r>
            <a:r>
              <a:rPr lang="de-DE" dirty="0"/>
              <a:t> Explorer, </a:t>
            </a:r>
            <a:r>
              <a:rPr lang="de-DE" dirty="0" err="1"/>
              <a:t>Advanced</a:t>
            </a:r>
            <a:r>
              <a:rPr lang="de-DE" dirty="0"/>
              <a:t> LIGO etc.).</a:t>
            </a:r>
            <a:endParaRPr lang="de-DE" b="1" dirty="0">
              <a:solidFill>
                <a:schemeClr val="tx2"/>
              </a:solidFill>
              <a:latin typeface="+mj-lt"/>
            </a:endParaRPr>
          </a:p>
          <a:p>
            <a:pPr marL="342900" lvl="1" indent="-342900">
              <a:spcBef>
                <a:spcPts val="500"/>
              </a:spcBef>
              <a:buFont typeface="+mj-lt"/>
              <a:buAutoNum type="arabicPeriod"/>
            </a:pPr>
            <a:r>
              <a:rPr lang="de-DE" b="1" dirty="0">
                <a:solidFill>
                  <a:schemeClr val="tx2"/>
                </a:solidFill>
                <a:latin typeface="+mj-lt"/>
              </a:rPr>
              <a:t>ET in </a:t>
            </a:r>
            <a:r>
              <a:rPr lang="de-DE" b="1" dirty="0" err="1">
                <a:solidFill>
                  <a:schemeClr val="tx2"/>
                </a:solidFill>
                <a:latin typeface="+mj-lt"/>
              </a:rPr>
              <a:t>Sardinia</a:t>
            </a:r>
            <a:r>
              <a:rPr lang="de-DE" b="1" dirty="0">
                <a:solidFill>
                  <a:schemeClr val="tx2"/>
                </a:solidFill>
                <a:latin typeface="+mj-lt"/>
              </a:rPr>
              <a:t> </a:t>
            </a:r>
            <a:r>
              <a:rPr lang="de-DE" b="1" dirty="0" err="1">
                <a:solidFill>
                  <a:schemeClr val="tx2"/>
                </a:solidFill>
                <a:latin typeface="+mj-lt"/>
              </a:rPr>
              <a:t>or</a:t>
            </a:r>
            <a:r>
              <a:rPr lang="de-DE" b="1" dirty="0">
                <a:solidFill>
                  <a:schemeClr val="tx2"/>
                </a:solidFill>
                <a:latin typeface="+mj-lt"/>
              </a:rPr>
              <a:t> Holland</a:t>
            </a:r>
            <a:br>
              <a:rPr lang="de-DE" b="1" dirty="0">
                <a:solidFill>
                  <a:schemeClr val="tx2"/>
                </a:solidFill>
                <a:latin typeface="+mj-lt"/>
              </a:rPr>
            </a:b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Low </a:t>
            </a:r>
            <a:r>
              <a:rPr lang="de-DE" dirty="0" err="1"/>
              <a:t>Seismic</a:t>
            </a:r>
            <a:r>
              <a:rPr lang="de-DE" dirty="0"/>
              <a:t> Lab, </a:t>
            </a:r>
            <a:r>
              <a:rPr lang="de-DE" dirty="0" err="1"/>
              <a:t>the</a:t>
            </a:r>
            <a:r>
              <a:rPr lang="de-DE" dirty="0"/>
              <a:t> DZA will </a:t>
            </a:r>
            <a:r>
              <a:rPr lang="de-DE" dirty="0" err="1"/>
              <a:t>make</a:t>
            </a:r>
            <a:r>
              <a:rPr lang="de-DE" dirty="0"/>
              <a:t> essential </a:t>
            </a:r>
            <a:r>
              <a:rPr lang="de-DE" dirty="0" err="1"/>
              <a:t>contribution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du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eismic</a:t>
            </a:r>
            <a:r>
              <a:rPr lang="de-DE" dirty="0"/>
              <a:t> </a:t>
            </a:r>
            <a:r>
              <a:rPr lang="de-DE" dirty="0" err="1"/>
              <a:t>noise</a:t>
            </a:r>
            <a:r>
              <a:rPr lang="de-DE" dirty="0"/>
              <a:t>, </a:t>
            </a:r>
            <a:r>
              <a:rPr lang="de-DE" dirty="0" err="1"/>
              <a:t>among</a:t>
            </a:r>
            <a:r>
              <a:rPr lang="de-DE" dirty="0"/>
              <a:t>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things</a:t>
            </a:r>
            <a:r>
              <a:rPr lang="de-DE" dirty="0"/>
              <a:t>.</a:t>
            </a:r>
            <a:endParaRPr lang="de-DE" b="1" dirty="0">
              <a:solidFill>
                <a:schemeClr val="tx2"/>
              </a:solidFill>
              <a:latin typeface="+mj-lt"/>
            </a:endParaRPr>
          </a:p>
          <a:p>
            <a:pPr marL="342900" lvl="1" indent="-342900">
              <a:spcBef>
                <a:spcPts val="500"/>
              </a:spcBef>
              <a:buFont typeface="+mj-lt"/>
              <a:buAutoNum type="arabicPeriod"/>
            </a:pPr>
            <a:r>
              <a:rPr lang="de-DE" b="1" dirty="0">
                <a:solidFill>
                  <a:schemeClr val="tx2"/>
                </a:solidFill>
                <a:latin typeface="+mj-lt"/>
              </a:rPr>
              <a:t>ET in </a:t>
            </a:r>
            <a:r>
              <a:rPr lang="de-DE" b="1" dirty="0" err="1">
                <a:solidFill>
                  <a:schemeClr val="tx2"/>
                </a:solidFill>
                <a:latin typeface="+mj-lt"/>
              </a:rPr>
              <a:t>Lusatia</a:t>
            </a:r>
            <a:br>
              <a:rPr lang="de-DE" b="1" dirty="0">
                <a:solidFill>
                  <a:schemeClr val="tx2"/>
                </a:solidFill>
                <a:latin typeface="+mj-lt"/>
              </a:rPr>
            </a:br>
            <a:r>
              <a:rPr lang="de-DE" dirty="0"/>
              <a:t>A </a:t>
            </a:r>
            <a:r>
              <a:rPr lang="de-DE" dirty="0" err="1"/>
              <a:t>potentially</a:t>
            </a:r>
            <a:r>
              <a:rPr lang="de-DE" dirty="0"/>
              <a:t> </a:t>
            </a:r>
            <a:r>
              <a:rPr lang="de-DE" dirty="0" err="1"/>
              <a:t>excellent</a:t>
            </a:r>
            <a:r>
              <a:rPr lang="de-DE" dirty="0"/>
              <a:t> </a:t>
            </a:r>
            <a:r>
              <a:rPr lang="de-DE" dirty="0" err="1"/>
              <a:t>scientific</a:t>
            </a:r>
            <a:r>
              <a:rPr lang="de-DE" dirty="0"/>
              <a:t> </a:t>
            </a:r>
            <a:r>
              <a:rPr lang="de-DE" dirty="0" err="1"/>
              <a:t>solution</a:t>
            </a:r>
            <a:r>
              <a:rPr lang="de-DE" dirty="0"/>
              <a:t>. </a:t>
            </a:r>
            <a:r>
              <a:rPr lang="de-DE" dirty="0" err="1"/>
              <a:t>Strengthen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ighthouse</a:t>
            </a:r>
            <a:r>
              <a:rPr lang="de-DE" dirty="0"/>
              <a:t> </a:t>
            </a:r>
            <a:r>
              <a:rPr lang="de-DE" dirty="0" err="1"/>
              <a:t>character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gion</a:t>
            </a:r>
            <a:r>
              <a:rPr lang="de-DE" dirty="0"/>
              <a:t>. Political support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financing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necessary</a:t>
            </a:r>
            <a:r>
              <a:rPr lang="de-DE" dirty="0"/>
              <a:t>.</a:t>
            </a:r>
          </a:p>
          <a:p>
            <a:pPr marL="342900" lvl="1" indent="-342900">
              <a:spcBef>
                <a:spcPts val="500"/>
              </a:spcBef>
              <a:buFont typeface="+mj-lt"/>
              <a:buAutoNum type="arabicPeriod"/>
            </a:pPr>
            <a:endParaRPr lang="de-DE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4" name="Textplatzhalter 32">
            <a:extLst>
              <a:ext uri="{FF2B5EF4-FFF2-40B4-BE49-F238E27FC236}">
                <a16:creationId xmlns:a16="http://schemas.microsoft.com/office/drawing/2014/main" id="{7C38F28D-42C1-1192-5CAF-E5B9AFF9C34E}"/>
              </a:ext>
            </a:extLst>
          </p:cNvPr>
          <p:cNvSpPr txBox="1">
            <a:spLocks/>
          </p:cNvSpPr>
          <p:nvPr/>
        </p:nvSpPr>
        <p:spPr>
          <a:xfrm>
            <a:off x="6096000" y="3088482"/>
            <a:ext cx="6096000" cy="3053620"/>
          </a:xfrm>
          <a:prstGeom prst="rect">
            <a:avLst/>
          </a:prstGeom>
        </p:spPr>
        <p:txBody>
          <a:bodyPr vert="horz" lIns="36000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0" indent="-216000" algn="l" defTabSz="914400" rtl="0" eaLnBrk="1" latinLnBrk="0" hangingPunct="1">
              <a:lnSpc>
                <a:spcPct val="105000"/>
              </a:lnSpc>
              <a:spcBef>
                <a:spcPts val="18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 cap="all" spc="70" baseline="0">
                <a:gradFill>
                  <a:gsLst>
                    <a:gs pos="73441">
                      <a:srgbClr val="006B99"/>
                    </a:gs>
                    <a:gs pos="31900">
                      <a:srgbClr val="00579A"/>
                    </a:gs>
                    <a:gs pos="0">
                      <a:srgbClr val="00499A"/>
                    </a:gs>
                    <a:gs pos="100000">
                      <a:srgbClr val="007B98"/>
                    </a:gs>
                  </a:gsLst>
                  <a:lin ang="0" scaled="0"/>
                </a:gra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7"/>
            <a:r>
              <a:rPr lang="de-DE" dirty="0">
                <a:solidFill>
                  <a:schemeClr val="bg1"/>
                </a:solidFill>
              </a:rPr>
              <a:t>A European </a:t>
            </a:r>
            <a:r>
              <a:rPr lang="de-DE" dirty="0" err="1">
                <a:solidFill>
                  <a:schemeClr val="bg1"/>
                </a:solidFill>
              </a:rPr>
              <a:t>project</a:t>
            </a:r>
            <a:endParaRPr lang="de-DE" dirty="0">
              <a:solidFill>
                <a:schemeClr val="bg1"/>
              </a:solidFill>
            </a:endParaRPr>
          </a:p>
          <a:p>
            <a:pPr lvl="1">
              <a:buClrTx/>
            </a:pPr>
            <a:r>
              <a:rPr lang="de-DE" dirty="0">
                <a:solidFill>
                  <a:schemeClr val="bg1"/>
                </a:solidFill>
              </a:rPr>
              <a:t>Construction </a:t>
            </a:r>
            <a:r>
              <a:rPr lang="de-DE" dirty="0" err="1">
                <a:solidFill>
                  <a:schemeClr val="bg1"/>
                </a:solidFill>
              </a:rPr>
              <a:t>costs</a:t>
            </a:r>
            <a:r>
              <a:rPr lang="de-DE" dirty="0">
                <a:solidFill>
                  <a:schemeClr val="bg1"/>
                </a:solidFill>
              </a:rPr>
              <a:t>:</a:t>
            </a:r>
          </a:p>
          <a:p>
            <a:pPr lvl="2"/>
            <a:r>
              <a:rPr lang="de-DE" dirty="0">
                <a:solidFill>
                  <a:schemeClr val="bg1"/>
                </a:solidFill>
              </a:rPr>
              <a:t>First </a:t>
            </a:r>
            <a:r>
              <a:rPr lang="de-DE" dirty="0" err="1">
                <a:solidFill>
                  <a:schemeClr val="bg1"/>
                </a:solidFill>
              </a:rPr>
              <a:t>phase</a:t>
            </a:r>
            <a:r>
              <a:rPr lang="de-DE" dirty="0">
                <a:solidFill>
                  <a:schemeClr val="bg1"/>
                </a:solidFill>
              </a:rPr>
              <a:t> € 1.2 </a:t>
            </a:r>
            <a:r>
              <a:rPr lang="de-DE" dirty="0" err="1">
                <a:solidFill>
                  <a:schemeClr val="bg1"/>
                </a:solidFill>
              </a:rPr>
              <a:t>billion</a:t>
            </a:r>
            <a:r>
              <a:rPr lang="de-DE" dirty="0">
                <a:solidFill>
                  <a:schemeClr val="bg1"/>
                </a:solidFill>
              </a:rPr>
              <a:t> </a:t>
            </a:r>
          </a:p>
          <a:p>
            <a:pPr lvl="2"/>
            <a:r>
              <a:rPr lang="de-DE" dirty="0" err="1">
                <a:solidFill>
                  <a:schemeClr val="bg1"/>
                </a:solidFill>
              </a:rPr>
              <a:t>Full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scope</a:t>
            </a:r>
            <a:r>
              <a:rPr lang="de-DE" dirty="0">
                <a:solidFill>
                  <a:schemeClr val="bg1"/>
                </a:solidFill>
              </a:rPr>
              <a:t> € 1.7 </a:t>
            </a:r>
            <a:r>
              <a:rPr lang="de-DE" dirty="0" err="1">
                <a:solidFill>
                  <a:schemeClr val="bg1"/>
                </a:solidFill>
              </a:rPr>
              <a:t>billion</a:t>
            </a:r>
            <a:r>
              <a:rPr lang="de-DE" dirty="0">
                <a:solidFill>
                  <a:schemeClr val="bg1"/>
                </a:solidFill>
              </a:rPr>
              <a:t> </a:t>
            </a:r>
          </a:p>
          <a:p>
            <a:pPr lvl="1">
              <a:buClrTx/>
            </a:pPr>
            <a:r>
              <a:rPr lang="de-DE" dirty="0">
                <a:solidFill>
                  <a:schemeClr val="bg1"/>
                </a:solidFill>
              </a:rPr>
              <a:t>Construction time: 8 </a:t>
            </a:r>
            <a:r>
              <a:rPr lang="de-DE" dirty="0" err="1">
                <a:solidFill>
                  <a:schemeClr val="bg1"/>
                </a:solidFill>
              </a:rPr>
              <a:t>years</a:t>
            </a:r>
            <a:endParaRPr lang="de-DE" dirty="0">
              <a:solidFill>
                <a:schemeClr val="bg1"/>
              </a:solidFill>
            </a:endParaRPr>
          </a:p>
          <a:p>
            <a:pPr lvl="1">
              <a:buClrTx/>
            </a:pPr>
            <a:r>
              <a:rPr lang="de-DE" dirty="0">
                <a:solidFill>
                  <a:schemeClr val="bg1"/>
                </a:solidFill>
              </a:rPr>
              <a:t>Lifetime: 50 </a:t>
            </a:r>
            <a:r>
              <a:rPr lang="de-DE" dirty="0" err="1">
                <a:solidFill>
                  <a:schemeClr val="bg1"/>
                </a:solidFill>
              </a:rPr>
              <a:t>years</a:t>
            </a:r>
            <a:endParaRPr lang="de-DE" dirty="0">
              <a:solidFill>
                <a:schemeClr val="bg1"/>
              </a:solidFill>
            </a:endParaRPr>
          </a:p>
          <a:p>
            <a:pPr lvl="1">
              <a:buClrTx/>
            </a:pPr>
            <a:r>
              <a:rPr lang="de-DE" dirty="0">
                <a:solidFill>
                  <a:schemeClr val="bg1"/>
                </a:solidFill>
              </a:rPr>
              <a:t>Location </a:t>
            </a:r>
            <a:r>
              <a:rPr lang="de-DE" dirty="0" err="1">
                <a:solidFill>
                  <a:schemeClr val="bg1"/>
                </a:solidFill>
              </a:rPr>
              <a:t>decision</a:t>
            </a:r>
            <a:r>
              <a:rPr lang="de-DE" dirty="0">
                <a:solidFill>
                  <a:schemeClr val="bg1"/>
                </a:solidFill>
              </a:rPr>
              <a:t>: 2025</a:t>
            </a:r>
          </a:p>
        </p:txBody>
      </p:sp>
    </p:spTree>
    <p:extLst>
      <p:ext uri="{BB962C8B-B14F-4D97-AF65-F5344CB8AC3E}">
        <p14:creationId xmlns:p14="http://schemas.microsoft.com/office/powerpoint/2010/main" val="1846174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F9A3F3F-47B5-83CC-0E99-F28B4B5DCB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49" y="812049"/>
            <a:ext cx="9092080" cy="2852737"/>
          </a:xfrm>
        </p:spPr>
        <p:txBody>
          <a:bodyPr/>
          <a:lstStyle/>
          <a:p>
            <a:r>
              <a:rPr lang="de-DE" dirty="0"/>
              <a:t>Knowledge. </a:t>
            </a:r>
            <a:r>
              <a:rPr lang="de-DE" dirty="0" err="1"/>
              <a:t>Creates</a:t>
            </a:r>
            <a:r>
              <a:rPr lang="de-DE" dirty="0"/>
              <a:t>. </a:t>
            </a:r>
            <a:r>
              <a:rPr lang="de-DE" dirty="0" err="1"/>
              <a:t>Perspectives</a:t>
            </a:r>
            <a:r>
              <a:rPr lang="de-DE" dirty="0"/>
              <a:t>.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D14DC4B-ACEF-EAE2-9451-C4EB3DF37D5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i="1" dirty="0"/>
              <a:t>"</a:t>
            </a:r>
            <a:r>
              <a:rPr lang="de-DE" i="1" dirty="0" err="1"/>
              <a:t>It</a:t>
            </a:r>
            <a:r>
              <a:rPr lang="de-DE" i="1" dirty="0"/>
              <a:t> </a:t>
            </a:r>
            <a:r>
              <a:rPr lang="de-DE" i="1" dirty="0" err="1"/>
              <a:t>is</a:t>
            </a:r>
            <a:r>
              <a:rPr lang="de-DE" i="1" dirty="0"/>
              <a:t> a </a:t>
            </a:r>
            <a:r>
              <a:rPr lang="de-DE" i="1" dirty="0" err="1"/>
              <a:t>fascinating</a:t>
            </a:r>
            <a:r>
              <a:rPr lang="de-DE" i="1" dirty="0"/>
              <a:t> </a:t>
            </a:r>
            <a:r>
              <a:rPr lang="de-DE" i="1" dirty="0" err="1"/>
              <a:t>idea</a:t>
            </a:r>
            <a:r>
              <a:rPr lang="de-DE" i="1" dirty="0"/>
              <a:t> </a:t>
            </a:r>
            <a:r>
              <a:rPr lang="de-DE" i="1" dirty="0" err="1"/>
              <a:t>for</a:t>
            </a:r>
            <a:r>
              <a:rPr lang="de-DE" i="1" dirty="0"/>
              <a:t> </a:t>
            </a:r>
            <a:r>
              <a:rPr lang="de-DE" i="1" dirty="0" err="1"/>
              <a:t>our</a:t>
            </a:r>
            <a:r>
              <a:rPr lang="de-DE" i="1" dirty="0"/>
              <a:t> </a:t>
            </a:r>
            <a:r>
              <a:rPr lang="de-DE" i="1" dirty="0" err="1"/>
              <a:t>students</a:t>
            </a:r>
            <a:r>
              <a:rPr lang="de-DE" i="1" dirty="0"/>
              <a:t> </a:t>
            </a:r>
            <a:r>
              <a:rPr lang="de-DE" i="1" dirty="0" err="1"/>
              <a:t>to</a:t>
            </a:r>
            <a:r>
              <a:rPr lang="de-DE" i="1" dirty="0"/>
              <a:t> </a:t>
            </a:r>
            <a:r>
              <a:rPr lang="de-DE" i="1" dirty="0" err="1"/>
              <a:t>get</a:t>
            </a:r>
            <a:r>
              <a:rPr lang="de-DE" i="1" dirty="0"/>
              <a:t> an </a:t>
            </a:r>
            <a:r>
              <a:rPr lang="de-DE" i="1" dirty="0" err="1"/>
              <a:t>attractive</a:t>
            </a:r>
            <a:r>
              <a:rPr lang="de-DE" i="1" dirty="0"/>
              <a:t> </a:t>
            </a:r>
            <a:r>
              <a:rPr lang="de-DE" i="1" dirty="0" err="1"/>
              <a:t>perspective</a:t>
            </a:r>
            <a:r>
              <a:rPr lang="de-DE" i="1" dirty="0"/>
              <a:t> </a:t>
            </a:r>
            <a:r>
              <a:rPr lang="de-DE" i="1" dirty="0" err="1"/>
              <a:t>for</a:t>
            </a:r>
            <a:r>
              <a:rPr lang="de-DE" i="1" dirty="0"/>
              <a:t> </a:t>
            </a:r>
            <a:r>
              <a:rPr lang="de-DE" i="1" dirty="0" err="1"/>
              <a:t>the</a:t>
            </a:r>
            <a:r>
              <a:rPr lang="de-DE" i="1" dirty="0"/>
              <a:t> </a:t>
            </a:r>
            <a:r>
              <a:rPr lang="de-DE" i="1" dirty="0" err="1"/>
              <a:t>future</a:t>
            </a:r>
            <a:r>
              <a:rPr lang="de-DE" i="1" dirty="0"/>
              <a:t> </a:t>
            </a:r>
            <a:r>
              <a:rPr lang="de-DE" i="1" dirty="0" err="1"/>
              <a:t>with</a:t>
            </a:r>
            <a:r>
              <a:rPr lang="de-DE" i="1" dirty="0"/>
              <a:t> </a:t>
            </a:r>
            <a:r>
              <a:rPr lang="de-DE" i="1" dirty="0" err="1"/>
              <a:t>the</a:t>
            </a:r>
            <a:r>
              <a:rPr lang="de-DE" i="1" dirty="0"/>
              <a:t> Low </a:t>
            </a:r>
            <a:r>
              <a:rPr lang="de-DE" i="1" dirty="0" err="1"/>
              <a:t>Seismic</a:t>
            </a:r>
            <a:r>
              <a:rPr lang="de-DE" i="1" dirty="0"/>
              <a:t> Lab </a:t>
            </a:r>
            <a:r>
              <a:rPr lang="de-DE" i="1" dirty="0" err="1"/>
              <a:t>of</a:t>
            </a:r>
            <a:r>
              <a:rPr lang="de-DE" i="1" dirty="0"/>
              <a:t> </a:t>
            </a:r>
            <a:r>
              <a:rPr lang="de-DE" i="1" dirty="0" err="1"/>
              <a:t>the</a:t>
            </a:r>
            <a:r>
              <a:rPr lang="de-DE" i="1" dirty="0"/>
              <a:t> DZA in such </a:t>
            </a:r>
            <a:r>
              <a:rPr lang="de-DE" i="1" dirty="0" err="1"/>
              <a:t>close</a:t>
            </a:r>
            <a:r>
              <a:rPr lang="de-DE" i="1" dirty="0"/>
              <a:t> </a:t>
            </a:r>
            <a:r>
              <a:rPr lang="de-DE" i="1" dirty="0" err="1"/>
              <a:t>proximity</a:t>
            </a:r>
            <a:r>
              <a:rPr lang="de-DE" i="1" dirty="0"/>
              <a:t> </a:t>
            </a:r>
            <a:r>
              <a:rPr lang="de-DE" i="1" dirty="0" err="1"/>
              <a:t>to</a:t>
            </a:r>
            <a:r>
              <a:rPr lang="de-DE" i="1" dirty="0"/>
              <a:t> </a:t>
            </a:r>
            <a:r>
              <a:rPr lang="de-DE" i="1" dirty="0" err="1"/>
              <a:t>our</a:t>
            </a:r>
            <a:r>
              <a:rPr lang="de-DE" i="1" dirty="0"/>
              <a:t> </a:t>
            </a:r>
            <a:r>
              <a:rPr lang="de-DE" i="1" dirty="0" err="1"/>
              <a:t>school</a:t>
            </a:r>
            <a:r>
              <a:rPr lang="de-DE" i="1" dirty="0"/>
              <a:t>. </a:t>
            </a:r>
            <a:r>
              <a:rPr lang="de-DE" i="1" dirty="0" err="1"/>
              <a:t>We</a:t>
            </a:r>
            <a:r>
              <a:rPr lang="de-DE" i="1" dirty="0"/>
              <a:t> </a:t>
            </a:r>
            <a:r>
              <a:rPr lang="de-DE" i="1" dirty="0" err="1"/>
              <a:t>wish</a:t>
            </a:r>
            <a:r>
              <a:rPr lang="de-DE" i="1" dirty="0"/>
              <a:t> </a:t>
            </a:r>
            <a:r>
              <a:rPr lang="de-DE" i="1" dirty="0" err="1"/>
              <a:t>the</a:t>
            </a:r>
            <a:r>
              <a:rPr lang="de-DE" i="1" dirty="0"/>
              <a:t> DZA </a:t>
            </a:r>
            <a:r>
              <a:rPr lang="de-DE" i="1" dirty="0" err="1"/>
              <a:t>every</a:t>
            </a:r>
            <a:r>
              <a:rPr lang="de-DE" i="1" dirty="0"/>
              <a:t> </a:t>
            </a:r>
            <a:r>
              <a:rPr lang="de-DE" i="1" dirty="0" err="1"/>
              <a:t>success</a:t>
            </a:r>
            <a:r>
              <a:rPr lang="de-DE" i="1" dirty="0"/>
              <a:t> and </a:t>
            </a:r>
            <a:r>
              <a:rPr lang="de-DE" i="1" dirty="0" err="1"/>
              <a:t>look</a:t>
            </a:r>
            <a:r>
              <a:rPr lang="de-DE" i="1" dirty="0"/>
              <a:t> </a:t>
            </a:r>
            <a:r>
              <a:rPr lang="de-DE" i="1" dirty="0" err="1"/>
              <a:t>forward</a:t>
            </a:r>
            <a:r>
              <a:rPr lang="de-DE" i="1" dirty="0"/>
              <a:t> </a:t>
            </a:r>
            <a:r>
              <a:rPr lang="de-DE" i="1" dirty="0" err="1"/>
              <a:t>to</a:t>
            </a:r>
            <a:r>
              <a:rPr lang="de-DE" i="1" dirty="0"/>
              <a:t> </a:t>
            </a:r>
            <a:r>
              <a:rPr lang="de-DE" i="1" dirty="0" err="1"/>
              <a:t>many</a:t>
            </a:r>
            <a:r>
              <a:rPr lang="de-DE" i="1" dirty="0"/>
              <a:t> </a:t>
            </a:r>
            <a:r>
              <a:rPr lang="de-DE" i="1" dirty="0" err="1"/>
              <a:t>more</a:t>
            </a:r>
            <a:r>
              <a:rPr lang="de-DE" i="1" dirty="0"/>
              <a:t> </a:t>
            </a:r>
            <a:r>
              <a:rPr lang="de-DE" i="1" dirty="0" err="1"/>
              <a:t>visits</a:t>
            </a:r>
            <a:r>
              <a:rPr lang="de-DE" i="1" dirty="0"/>
              <a:t> and </a:t>
            </a:r>
            <a:r>
              <a:rPr lang="de-DE" i="1" dirty="0" err="1"/>
              <a:t>projects</a:t>
            </a:r>
            <a:r>
              <a:rPr lang="de-DE" i="1" dirty="0"/>
              <a:t> </a:t>
            </a:r>
            <a:r>
              <a:rPr lang="de-DE" i="1" dirty="0" err="1"/>
              <a:t>about</a:t>
            </a:r>
            <a:r>
              <a:rPr lang="de-DE" i="1" dirty="0"/>
              <a:t> </a:t>
            </a:r>
            <a:r>
              <a:rPr lang="de-DE" i="1" dirty="0" err="1"/>
              <a:t>astronomy</a:t>
            </a:r>
            <a:r>
              <a:rPr lang="de-DE" i="1" dirty="0"/>
              <a:t> and </a:t>
            </a:r>
            <a:r>
              <a:rPr lang="de-DE" i="1" dirty="0" err="1"/>
              <a:t>our</a:t>
            </a:r>
            <a:r>
              <a:rPr lang="de-DE" i="1" dirty="0"/>
              <a:t> </a:t>
            </a:r>
            <a:r>
              <a:rPr lang="de-DE" i="1" dirty="0" err="1"/>
              <a:t>role</a:t>
            </a:r>
            <a:r>
              <a:rPr lang="de-DE" i="1" dirty="0"/>
              <a:t> in </a:t>
            </a:r>
            <a:r>
              <a:rPr lang="de-DE" i="1" dirty="0" err="1"/>
              <a:t>the</a:t>
            </a:r>
            <a:r>
              <a:rPr lang="de-DE" i="1" dirty="0"/>
              <a:t> </a:t>
            </a:r>
            <a:r>
              <a:rPr lang="de-DE" i="1" dirty="0" err="1"/>
              <a:t>world</a:t>
            </a:r>
            <a:r>
              <a:rPr lang="de-DE" i="1" dirty="0"/>
              <a:t>." </a:t>
            </a:r>
          </a:p>
          <a:p>
            <a:pPr algn="r"/>
            <a:r>
              <a:rPr lang="de-DE" i="1" dirty="0"/>
              <a:t>Milenka Kober, Headmistress, </a:t>
            </a:r>
            <a:r>
              <a:rPr lang="de-DE" i="1" dirty="0" err="1"/>
              <a:t>Sorbian</a:t>
            </a:r>
            <a:r>
              <a:rPr lang="de-DE" i="1" dirty="0"/>
              <a:t> </a:t>
            </a:r>
            <a:r>
              <a:rPr lang="de-DE" i="1" dirty="0" err="1"/>
              <a:t>Secondary</a:t>
            </a:r>
            <a:r>
              <a:rPr lang="de-DE" i="1" dirty="0"/>
              <a:t> School Ralbitz </a:t>
            </a:r>
          </a:p>
          <a:p>
            <a:endParaRPr lang="x-non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66FE1A-A4D5-2BCA-84C9-CE73C33485A6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1283950" y="6589713"/>
            <a:ext cx="908050" cy="134937"/>
          </a:xfrm>
        </p:spPr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F26305-1FF3-8B62-3E2E-EAA013B3370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589713"/>
            <a:ext cx="4337050" cy="134937"/>
          </a:xfrm>
        </p:spPr>
        <p:txBody>
          <a:bodyPr/>
          <a:lstStyle/>
          <a:p>
            <a:r>
              <a:rPr lang="de-CH"/>
              <a:t>Helmholtz MU-Day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9FFD6B-414C-80C6-2964-0872B8B1068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589713"/>
            <a:ext cx="749300" cy="134937"/>
          </a:xfrm>
        </p:spPr>
        <p:txBody>
          <a:bodyPr/>
          <a:lstStyle/>
          <a:p>
            <a:fld id="{2B7F7AFC-335A-4E1E-8346-4C0D714D39C6}" type="slidenum">
              <a:rPr lang="de-CH" smtClean="0"/>
              <a:t>1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1505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0D0DAB86-4B66-9227-484C-4A8CBFB3F0B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0D0DAB86-4B66-9227-484C-4A8CBFB3F0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Bildplatzhalter 13" descr="Ein Bild, das Text enthält.&#10;&#10;Automatisch generierte Beschreibung">
            <a:extLst>
              <a:ext uri="{FF2B5EF4-FFF2-40B4-BE49-F238E27FC236}">
                <a16:creationId xmlns:a16="http://schemas.microsoft.com/office/drawing/2014/main" id="{DEFC9DFD-668E-2E39-01FF-2464BD57413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5"/>
          <a:srcRect t="4948" b="4948"/>
          <a:stretch/>
        </p:blipFill>
        <p:spPr/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89A50D36-3844-633B-91AA-5ABB3A8A15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A </a:t>
            </a:r>
            <a:r>
              <a:rPr lang="de-CH" dirty="0" err="1"/>
              <a:t>competition</a:t>
            </a:r>
            <a:r>
              <a:rPr lang="de-CH" dirty="0"/>
              <a:t> </a:t>
            </a:r>
            <a:r>
              <a:rPr lang="de-CH" dirty="0" err="1"/>
              <a:t>historically</a:t>
            </a:r>
            <a:r>
              <a:rPr lang="de-CH" dirty="0"/>
              <a:t> </a:t>
            </a:r>
            <a:r>
              <a:rPr lang="de-CH" dirty="0" err="1"/>
              <a:t>unique</a:t>
            </a:r>
            <a:r>
              <a:rPr lang="de-CH" dirty="0"/>
              <a:t> in Germany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0A6EB48-5894-259A-B4CB-7ACD07F653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70F1420-59B7-4D67-2634-129DADFF6C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60ACD6C-3C9D-0F9F-2839-4DBBFDD410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pPr/>
              <a:t>2</a:t>
            </a:fld>
            <a:endParaRPr lang="de-CH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4C13B14-8A18-33B5-E64F-7BA40BE641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21894" y="2463282"/>
            <a:ext cx="4250705" cy="3180136"/>
          </a:xfrm>
        </p:spPr>
        <p:txBody>
          <a:bodyPr>
            <a:noAutofit/>
          </a:bodyPr>
          <a:lstStyle/>
          <a:p>
            <a:pPr lvl="8"/>
            <a:r>
              <a:rPr lang="de-DE" dirty="0" err="1"/>
              <a:t>Structural</a:t>
            </a:r>
            <a:r>
              <a:rPr lang="de-DE" dirty="0"/>
              <a:t> </a:t>
            </a:r>
            <a:r>
              <a:rPr lang="de-DE" dirty="0" err="1"/>
              <a:t>change</a:t>
            </a:r>
            <a:endParaRPr lang="de-DE" dirty="0"/>
          </a:p>
          <a:p>
            <a:pPr lvl="7"/>
            <a:r>
              <a:rPr lang="de-DE" dirty="0"/>
              <a:t>Knowledge </a:t>
            </a:r>
            <a:r>
              <a:rPr lang="de-DE" dirty="0" err="1"/>
              <a:t>creates</a:t>
            </a:r>
            <a:r>
              <a:rPr lang="de-DE" dirty="0"/>
              <a:t> </a:t>
            </a:r>
            <a:r>
              <a:rPr lang="de-DE" dirty="0" err="1"/>
              <a:t>perspectiv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gion</a:t>
            </a:r>
            <a:r>
              <a:rPr lang="de-DE" dirty="0"/>
              <a:t>!</a:t>
            </a:r>
          </a:p>
          <a:p>
            <a:pPr lvl="3"/>
            <a:r>
              <a:rPr lang="de-DE" dirty="0" err="1"/>
              <a:t>Two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large-</a:t>
            </a:r>
            <a:r>
              <a:rPr lang="de-DE" dirty="0" err="1"/>
              <a:t>scale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 </a:t>
            </a:r>
            <a:r>
              <a:rPr lang="de-DE" dirty="0" err="1"/>
              <a:t>centres</a:t>
            </a:r>
            <a:r>
              <a:rPr lang="de-DE" dirty="0"/>
              <a:t> will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established</a:t>
            </a:r>
            <a:r>
              <a:rPr lang="de-DE" dirty="0"/>
              <a:t> in </a:t>
            </a:r>
            <a:r>
              <a:rPr lang="de-DE" dirty="0" err="1"/>
              <a:t>Lusatia</a:t>
            </a:r>
            <a:r>
              <a:rPr lang="de-DE" dirty="0"/>
              <a:t> in </a:t>
            </a:r>
            <a:r>
              <a:rPr lang="de-DE" dirty="0" err="1"/>
              <a:t>Saxony</a:t>
            </a:r>
            <a:r>
              <a:rPr lang="de-DE" dirty="0"/>
              <a:t> and in </a:t>
            </a:r>
            <a:r>
              <a:rPr lang="de-DE" dirty="0" err="1"/>
              <a:t>the</a:t>
            </a:r>
            <a:r>
              <a:rPr lang="de-DE" dirty="0"/>
              <a:t> Central German </a:t>
            </a:r>
            <a:r>
              <a:rPr lang="de-DE" dirty="0" err="1"/>
              <a:t>mining</a:t>
            </a:r>
            <a:r>
              <a:rPr lang="de-DE" dirty="0"/>
              <a:t> </a:t>
            </a:r>
            <a:r>
              <a:rPr lang="de-DE" dirty="0" err="1"/>
              <a:t>region</a:t>
            </a:r>
            <a:r>
              <a:rPr lang="de-DE" dirty="0"/>
              <a:t>. </a:t>
            </a:r>
            <a:r>
              <a:rPr lang="de-DE" dirty="0" err="1"/>
              <a:t>With</a:t>
            </a:r>
            <a:r>
              <a:rPr lang="de-DE" dirty="0"/>
              <a:t> "Knowledge </a:t>
            </a:r>
            <a:r>
              <a:rPr lang="de-DE" dirty="0" err="1"/>
              <a:t>creates</a:t>
            </a:r>
            <a:r>
              <a:rPr lang="de-DE" dirty="0"/>
              <a:t> </a:t>
            </a:r>
            <a:r>
              <a:rPr lang="de-DE" dirty="0" err="1"/>
              <a:t>perspective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egion</a:t>
            </a:r>
            <a:r>
              <a:rPr lang="de-DE" dirty="0"/>
              <a:t>!", </a:t>
            </a:r>
            <a:r>
              <a:rPr lang="de-DE" dirty="0" err="1"/>
              <a:t>the</a:t>
            </a:r>
            <a:r>
              <a:rPr lang="de-DE" dirty="0"/>
              <a:t> BMBF and </a:t>
            </a:r>
            <a:r>
              <a:rPr lang="de-DE" dirty="0" err="1"/>
              <a:t>the</a:t>
            </a:r>
            <a:r>
              <a:rPr lang="de-DE" dirty="0"/>
              <a:t> Free Stat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axony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launching</a:t>
            </a:r>
            <a:r>
              <a:rPr lang="de-DE" dirty="0"/>
              <a:t> a </a:t>
            </a:r>
            <a:r>
              <a:rPr lang="de-DE" dirty="0" err="1"/>
              <a:t>competition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establishme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entres</a:t>
            </a:r>
            <a:r>
              <a:rPr lang="de-DE" dirty="0"/>
              <a:t>.</a:t>
            </a:r>
          </a:p>
          <a:p>
            <a:pPr lvl="3"/>
            <a:r>
              <a:rPr kumimoji="0" lang="en-DE" sz="9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Arial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bmbf.de/de/wissen-schafft-perspektiven-fuer-die-region-13122.html</a:t>
            </a:r>
            <a:endParaRPr kumimoji="0" lang="en-DE" sz="9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cs typeface="Arial"/>
            </a:endParaRPr>
          </a:p>
          <a:p>
            <a:pPr lvl="3"/>
            <a:endParaRPr lang="de-DE" dirty="0"/>
          </a:p>
          <a:p>
            <a:endParaRPr lang="de-DE" dirty="0"/>
          </a:p>
        </p:txBody>
      </p:sp>
      <p:sp>
        <p:nvSpPr>
          <p:cNvPr id="2" name="Textplatzhalter 8">
            <a:extLst>
              <a:ext uri="{FF2B5EF4-FFF2-40B4-BE49-F238E27FC236}">
                <a16:creationId xmlns:a16="http://schemas.microsoft.com/office/drawing/2014/main" id="{BE9B3700-511E-74AF-EAC4-677634BFFC8E}"/>
              </a:ext>
            </a:extLst>
          </p:cNvPr>
          <p:cNvSpPr txBox="1">
            <a:spLocks/>
          </p:cNvSpPr>
          <p:nvPr/>
        </p:nvSpPr>
        <p:spPr>
          <a:xfrm>
            <a:off x="719402" y="4562762"/>
            <a:ext cx="5694098" cy="1080656"/>
          </a:xfrm>
          <a:prstGeom prst="rect">
            <a:avLst/>
          </a:prstGeom>
          <a:solidFill>
            <a:schemeClr val="tx2">
              <a:alpha val="80000"/>
            </a:schemeClr>
          </a:solidFill>
        </p:spPr>
        <p:txBody>
          <a:bodyPr vert="horz" lIns="216000" tIns="216000" rIns="216000" bIns="216000" rtlCol="0">
            <a:noAutofit/>
          </a:bodyPr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•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16000" indent="-216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 cap="all" spc="70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7"/>
            <a:r>
              <a:rPr lang="de-DE" dirty="0"/>
              <a:t>Annual </a:t>
            </a:r>
            <a:r>
              <a:rPr lang="de-DE" dirty="0" err="1"/>
              <a:t>budget</a:t>
            </a:r>
            <a:r>
              <a:rPr lang="de-DE" dirty="0"/>
              <a:t> after </a:t>
            </a:r>
            <a:r>
              <a:rPr lang="de-DE" dirty="0" err="1"/>
              <a:t>ramp-up</a:t>
            </a:r>
            <a:r>
              <a:rPr lang="de-DE" dirty="0"/>
              <a:t> </a:t>
            </a:r>
            <a:r>
              <a:rPr lang="de-DE" dirty="0" err="1"/>
              <a:t>phase</a:t>
            </a:r>
            <a:r>
              <a:rPr lang="de-DE" dirty="0"/>
              <a:t> 170 M€, </a:t>
            </a:r>
          </a:p>
          <a:p>
            <a:pPr lvl="7"/>
            <a:r>
              <a:rPr lang="de-DE" dirty="0"/>
              <a:t>Total </a:t>
            </a:r>
            <a:r>
              <a:rPr lang="de-DE" dirty="0" err="1"/>
              <a:t>volum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application</a:t>
            </a:r>
            <a:r>
              <a:rPr lang="de-DE" dirty="0"/>
              <a:t> € 1.4 </a:t>
            </a:r>
            <a:r>
              <a:rPr lang="de-DE" dirty="0" err="1"/>
              <a:t>billion</a:t>
            </a:r>
            <a:endParaRPr lang="de-DE" dirty="0"/>
          </a:p>
          <a:p>
            <a:pPr lvl="7"/>
            <a:r>
              <a:rPr lang="de-DE" dirty="0"/>
              <a:t> </a:t>
            </a:r>
          </a:p>
          <a:p>
            <a:pPr lvl="3"/>
            <a:endParaRPr lang="de-DE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87664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C94CB69B-7615-CC24-F31D-27E4119F92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8" progId="TCLayout.ActiveDocument.1">
                  <p:embed/>
                </p:oleObj>
              </mc:Choice>
              <mc:Fallback>
                <p:oleObj name="think-cell Folie" r:id="rId4" imgW="306" imgH="30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C94CB69B-7615-CC24-F31D-27E4119F92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>
            <a:extLst>
              <a:ext uri="{FF2B5EF4-FFF2-40B4-BE49-F238E27FC236}">
                <a16:creationId xmlns:a16="http://schemas.microsoft.com/office/drawing/2014/main" id="{D7EFC028-4579-0BFB-59F3-051741E199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CH" dirty="0"/>
              <a:t>Jobs at </a:t>
            </a:r>
            <a:r>
              <a:rPr lang="de-CH" dirty="0" err="1"/>
              <a:t>the</a:t>
            </a:r>
            <a:r>
              <a:rPr lang="de-CH" dirty="0"/>
              <a:t> DZA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8456CC0-5DA0-F508-B5EE-173EED6002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EB7132F-3FD1-E9AA-6830-02EBCDE321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420C8CA-26D7-7A7E-27F7-233B9FEE31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20</a:t>
            </a:fld>
            <a:endParaRPr lang="de-CH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0B7FCC02-8595-1533-AD93-62EB35FDF8BE}"/>
              </a:ext>
            </a:extLst>
          </p:cNvPr>
          <p:cNvSpPr txBox="1"/>
          <p:nvPr/>
        </p:nvSpPr>
        <p:spPr>
          <a:xfrm>
            <a:off x="5126031" y="2615204"/>
            <a:ext cx="3323239" cy="923330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6000" dirty="0">
                <a:solidFill>
                  <a:schemeClr val="bg1"/>
                </a:solidFill>
                <a:ea typeface="+mj-ea"/>
                <a:cs typeface="+mj-cs"/>
              </a:rPr>
              <a:t>Research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3D8EBF5F-44E9-3AB7-5AC3-6D570FDF7E0D}"/>
              </a:ext>
            </a:extLst>
          </p:cNvPr>
          <p:cNvSpPr txBox="1"/>
          <p:nvPr/>
        </p:nvSpPr>
        <p:spPr>
          <a:xfrm>
            <a:off x="6129591" y="2108300"/>
            <a:ext cx="84343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69D4FF"/>
                </a:solidFill>
              </a:rPr>
              <a:t>Technik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8BD98B18-F786-4113-D171-E528E7EFE6C6}"/>
              </a:ext>
            </a:extLst>
          </p:cNvPr>
          <p:cNvSpPr txBox="1"/>
          <p:nvPr/>
        </p:nvSpPr>
        <p:spPr>
          <a:xfrm>
            <a:off x="5320112" y="3413015"/>
            <a:ext cx="162446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DEDEDA"/>
                </a:solidFill>
              </a:rPr>
              <a:t>Buchhaltung</a:t>
            </a:r>
          </a:p>
        </p:txBody>
      </p:sp>
      <p:sp>
        <p:nvSpPr>
          <p:cNvPr id="29" name="Textfeld 28">
            <a:extLst>
              <a:ext uri="{FF2B5EF4-FFF2-40B4-BE49-F238E27FC236}">
                <a16:creationId xmlns:a16="http://schemas.microsoft.com/office/drawing/2014/main" id="{98805367-2726-3115-8C5C-9FE962F73C28}"/>
              </a:ext>
            </a:extLst>
          </p:cNvPr>
          <p:cNvSpPr txBox="1"/>
          <p:nvPr/>
        </p:nvSpPr>
        <p:spPr>
          <a:xfrm>
            <a:off x="10260373" y="2303049"/>
            <a:ext cx="162446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43DDC0"/>
                </a:solidFill>
              </a:rPr>
              <a:t>Fachinformatik</a:t>
            </a:r>
          </a:p>
        </p:txBody>
      </p:sp>
      <p:sp>
        <p:nvSpPr>
          <p:cNvPr id="35" name="Textfeld 34">
            <a:extLst>
              <a:ext uri="{FF2B5EF4-FFF2-40B4-BE49-F238E27FC236}">
                <a16:creationId xmlns:a16="http://schemas.microsoft.com/office/drawing/2014/main" id="{F25B3B80-1B29-8C82-CA0A-5E0A878679DE}"/>
              </a:ext>
            </a:extLst>
          </p:cNvPr>
          <p:cNvSpPr txBox="1"/>
          <p:nvPr/>
        </p:nvSpPr>
        <p:spPr>
          <a:xfrm>
            <a:off x="3791408" y="4494379"/>
            <a:ext cx="157719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DEDEDA"/>
                </a:solidFill>
              </a:rPr>
              <a:t>Mechatronik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17B24ECD-28BD-6EF4-D25C-6D14692E14EB}"/>
              </a:ext>
            </a:extLst>
          </p:cNvPr>
          <p:cNvSpPr txBox="1"/>
          <p:nvPr/>
        </p:nvSpPr>
        <p:spPr>
          <a:xfrm>
            <a:off x="9622638" y="5260065"/>
            <a:ext cx="1874137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 dirty="0">
                <a:solidFill>
                  <a:srgbClr val="B1ADF9"/>
                </a:solidFill>
              </a:rPr>
              <a:t>Öffentlichkeitsarbeit</a:t>
            </a: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0B6C7CD5-9543-7B45-95A4-402B28AFB665}"/>
              </a:ext>
            </a:extLst>
          </p:cNvPr>
          <p:cNvSpPr txBox="1"/>
          <p:nvPr/>
        </p:nvSpPr>
        <p:spPr>
          <a:xfrm>
            <a:off x="10440911" y="852543"/>
            <a:ext cx="143925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43DDC0"/>
                </a:solidFill>
              </a:rPr>
              <a:t>Bildungsarbeit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ECB7B03F-6B50-C456-6B3E-991479A2FEAE}"/>
              </a:ext>
            </a:extLst>
          </p:cNvPr>
          <p:cNvSpPr txBox="1"/>
          <p:nvPr/>
        </p:nvSpPr>
        <p:spPr>
          <a:xfrm>
            <a:off x="3966976" y="5357947"/>
            <a:ext cx="187602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69D4FF"/>
                </a:solidFill>
              </a:rPr>
              <a:t>Wissenschaft</a:t>
            </a:r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7FE11D18-E5A2-3628-8A86-07F88711C329}"/>
              </a:ext>
            </a:extLst>
          </p:cNvPr>
          <p:cNvSpPr txBox="1"/>
          <p:nvPr/>
        </p:nvSpPr>
        <p:spPr>
          <a:xfrm>
            <a:off x="8284870" y="4480489"/>
            <a:ext cx="162446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B1ADF9"/>
                </a:solidFill>
              </a:rPr>
              <a:t>Bibliothekswesen</a:t>
            </a:r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8F5047D0-F03A-CC66-4DBF-DBE0D233EA87}"/>
              </a:ext>
            </a:extLst>
          </p:cNvPr>
          <p:cNvSpPr txBox="1"/>
          <p:nvPr/>
        </p:nvSpPr>
        <p:spPr>
          <a:xfrm>
            <a:off x="4932415" y="4832587"/>
            <a:ext cx="220725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B1ADF9"/>
                </a:solidFill>
              </a:rPr>
              <a:t>Informationstechnologie</a:t>
            </a: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5C69C0BC-D5E9-9CAB-CD6A-79B66DB221C2}"/>
              </a:ext>
            </a:extLst>
          </p:cNvPr>
          <p:cNvSpPr txBox="1"/>
          <p:nvPr/>
        </p:nvSpPr>
        <p:spPr>
          <a:xfrm>
            <a:off x="9358333" y="3940680"/>
            <a:ext cx="156502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B1ADF9"/>
                </a:solidFill>
              </a:rPr>
              <a:t>Personalplanung</a:t>
            </a:r>
          </a:p>
        </p:txBody>
      </p:sp>
      <p:sp>
        <p:nvSpPr>
          <p:cNvPr id="67" name="Textfeld 66">
            <a:extLst>
              <a:ext uri="{FF2B5EF4-FFF2-40B4-BE49-F238E27FC236}">
                <a16:creationId xmlns:a16="http://schemas.microsoft.com/office/drawing/2014/main" id="{A213013A-63CA-5D87-4133-FF0F6B16A1A5}"/>
              </a:ext>
            </a:extLst>
          </p:cNvPr>
          <p:cNvSpPr txBox="1"/>
          <p:nvPr/>
        </p:nvSpPr>
        <p:spPr>
          <a:xfrm>
            <a:off x="4286768" y="2945946"/>
            <a:ext cx="84343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 dirty="0">
                <a:solidFill>
                  <a:srgbClr val="69D4FF"/>
                </a:solidFill>
              </a:rPr>
              <a:t>Fertigung</a:t>
            </a:r>
          </a:p>
        </p:txBody>
      </p:sp>
      <p:sp>
        <p:nvSpPr>
          <p:cNvPr id="69" name="Textfeld 68">
            <a:extLst>
              <a:ext uri="{FF2B5EF4-FFF2-40B4-BE49-F238E27FC236}">
                <a16:creationId xmlns:a16="http://schemas.microsoft.com/office/drawing/2014/main" id="{07DE8160-09D3-518B-8A5F-554566C2BCBC}"/>
              </a:ext>
            </a:extLst>
          </p:cNvPr>
          <p:cNvSpPr txBox="1"/>
          <p:nvPr/>
        </p:nvSpPr>
        <p:spPr>
          <a:xfrm>
            <a:off x="3821688" y="2280976"/>
            <a:ext cx="108410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69D4FF"/>
                </a:solidFill>
              </a:rPr>
              <a:t>Technisches</a:t>
            </a:r>
          </a:p>
        </p:txBody>
      </p:sp>
      <p:sp>
        <p:nvSpPr>
          <p:cNvPr id="80" name="Textfeld 79">
            <a:extLst>
              <a:ext uri="{FF2B5EF4-FFF2-40B4-BE49-F238E27FC236}">
                <a16:creationId xmlns:a16="http://schemas.microsoft.com/office/drawing/2014/main" id="{76974240-6583-5766-2F7A-9F66C86CBCBA}"/>
              </a:ext>
            </a:extLst>
          </p:cNvPr>
          <p:cNvSpPr txBox="1"/>
          <p:nvPr/>
        </p:nvSpPr>
        <p:spPr>
          <a:xfrm>
            <a:off x="5376245" y="438426"/>
            <a:ext cx="2518207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43DDC0"/>
                </a:solidFill>
              </a:rPr>
              <a:t>Kostenrechnungswesen</a:t>
            </a:r>
          </a:p>
        </p:txBody>
      </p:sp>
      <p:sp>
        <p:nvSpPr>
          <p:cNvPr id="81" name="Textfeld 80">
            <a:extLst>
              <a:ext uri="{FF2B5EF4-FFF2-40B4-BE49-F238E27FC236}">
                <a16:creationId xmlns:a16="http://schemas.microsoft.com/office/drawing/2014/main" id="{BCDC7C11-9258-3D57-6114-6E2054D128EA}"/>
              </a:ext>
            </a:extLst>
          </p:cNvPr>
          <p:cNvSpPr txBox="1"/>
          <p:nvPr/>
        </p:nvSpPr>
        <p:spPr>
          <a:xfrm>
            <a:off x="6696545" y="998322"/>
            <a:ext cx="1624463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69D4FF"/>
                </a:solidFill>
              </a:rPr>
              <a:t>Astronomie</a:t>
            </a:r>
          </a:p>
        </p:txBody>
      </p:sp>
      <p:sp>
        <p:nvSpPr>
          <p:cNvPr id="82" name="Textfeld 81">
            <a:extLst>
              <a:ext uri="{FF2B5EF4-FFF2-40B4-BE49-F238E27FC236}">
                <a16:creationId xmlns:a16="http://schemas.microsoft.com/office/drawing/2014/main" id="{F107DE53-5287-44E1-2B65-DFBD0E955641}"/>
              </a:ext>
            </a:extLst>
          </p:cNvPr>
          <p:cNvSpPr txBox="1"/>
          <p:nvPr/>
        </p:nvSpPr>
        <p:spPr>
          <a:xfrm>
            <a:off x="10085838" y="1543312"/>
            <a:ext cx="1726136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chemeClr val="bg1"/>
                </a:solidFill>
              </a:rPr>
              <a:t>Schweißtechnik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F3F8A92D-48E7-4664-A56B-1D748AE62E28}"/>
              </a:ext>
            </a:extLst>
          </p:cNvPr>
          <p:cNvSpPr txBox="1"/>
          <p:nvPr/>
        </p:nvSpPr>
        <p:spPr>
          <a:xfrm>
            <a:off x="6615642" y="2322815"/>
            <a:ext cx="143925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B1ADF9"/>
                </a:solidFill>
              </a:rPr>
              <a:t>Informatik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22E09DDD-72E5-ADC0-253B-73E0C0519D95}"/>
              </a:ext>
            </a:extLst>
          </p:cNvPr>
          <p:cNvSpPr txBox="1"/>
          <p:nvPr/>
        </p:nvSpPr>
        <p:spPr>
          <a:xfrm>
            <a:off x="5070357" y="2238512"/>
            <a:ext cx="84343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B1ADF9"/>
                </a:solidFill>
              </a:rPr>
              <a:t>Logistik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F7359E0F-67F6-74AA-2501-AF6C40A57977}"/>
              </a:ext>
            </a:extLst>
          </p:cNvPr>
          <p:cNvSpPr txBox="1"/>
          <p:nvPr/>
        </p:nvSpPr>
        <p:spPr>
          <a:xfrm>
            <a:off x="8527413" y="3238027"/>
            <a:ext cx="219045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FED776"/>
                </a:solidFill>
              </a:rPr>
              <a:t>Elektromechanik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FBE25AB6-29BD-EC99-B702-3EF8F1460745}"/>
              </a:ext>
            </a:extLst>
          </p:cNvPr>
          <p:cNvSpPr txBox="1"/>
          <p:nvPr/>
        </p:nvSpPr>
        <p:spPr>
          <a:xfrm>
            <a:off x="8793293" y="2485978"/>
            <a:ext cx="208770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DEDEDA"/>
                </a:solidFill>
              </a:rPr>
              <a:t>Holzverarbeitung</a:t>
            </a:r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B43B7F88-5B45-0933-8F61-49A727CEB477}"/>
              </a:ext>
            </a:extLst>
          </p:cNvPr>
          <p:cNvSpPr txBox="1"/>
          <p:nvPr/>
        </p:nvSpPr>
        <p:spPr>
          <a:xfrm>
            <a:off x="9296482" y="2843218"/>
            <a:ext cx="2087707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B1ADF9"/>
                </a:solidFill>
              </a:rPr>
              <a:t>Industriemechanik</a:t>
            </a:r>
          </a:p>
        </p:txBody>
      </p:sp>
      <p:sp>
        <p:nvSpPr>
          <p:cNvPr id="30" name="Textfeld 29">
            <a:extLst>
              <a:ext uri="{FF2B5EF4-FFF2-40B4-BE49-F238E27FC236}">
                <a16:creationId xmlns:a16="http://schemas.microsoft.com/office/drawing/2014/main" id="{85F6747E-53B1-C175-B206-63039ECEBBAF}"/>
              </a:ext>
            </a:extLst>
          </p:cNvPr>
          <p:cNvSpPr txBox="1"/>
          <p:nvPr/>
        </p:nvSpPr>
        <p:spPr>
          <a:xfrm>
            <a:off x="9058736" y="2099226"/>
            <a:ext cx="1624463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69D4FF"/>
                </a:solidFill>
              </a:rPr>
              <a:t>Controlling</a:t>
            </a:r>
          </a:p>
        </p:txBody>
      </p:sp>
      <p:sp>
        <p:nvSpPr>
          <p:cNvPr id="31" name="Textfeld 30">
            <a:extLst>
              <a:ext uri="{FF2B5EF4-FFF2-40B4-BE49-F238E27FC236}">
                <a16:creationId xmlns:a16="http://schemas.microsoft.com/office/drawing/2014/main" id="{05DB2A95-92E7-2678-3525-FE12B04AEF62}"/>
              </a:ext>
            </a:extLst>
          </p:cNvPr>
          <p:cNvSpPr txBox="1"/>
          <p:nvPr/>
        </p:nvSpPr>
        <p:spPr>
          <a:xfrm>
            <a:off x="6409170" y="718374"/>
            <a:ext cx="291354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FED776"/>
                </a:solidFill>
              </a:rPr>
              <a:t>Projektmitteladministration</a:t>
            </a:r>
          </a:p>
        </p:txBody>
      </p:sp>
      <p:sp>
        <p:nvSpPr>
          <p:cNvPr id="68" name="Textfeld 67">
            <a:extLst>
              <a:ext uri="{FF2B5EF4-FFF2-40B4-BE49-F238E27FC236}">
                <a16:creationId xmlns:a16="http://schemas.microsoft.com/office/drawing/2014/main" id="{AAAD7D3B-48BB-4E23-355F-B2E3BC023391}"/>
              </a:ext>
            </a:extLst>
          </p:cNvPr>
          <p:cNvSpPr txBox="1"/>
          <p:nvPr/>
        </p:nvSpPr>
        <p:spPr>
          <a:xfrm>
            <a:off x="4206118" y="4821949"/>
            <a:ext cx="7221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43DDC0"/>
                </a:solidFill>
              </a:rPr>
              <a:t>Grafik</a:t>
            </a:r>
          </a:p>
        </p:txBody>
      </p:sp>
      <p:sp>
        <p:nvSpPr>
          <p:cNvPr id="58" name="Textfeld 57">
            <a:extLst>
              <a:ext uri="{FF2B5EF4-FFF2-40B4-BE49-F238E27FC236}">
                <a16:creationId xmlns:a16="http://schemas.microsoft.com/office/drawing/2014/main" id="{71F32275-D381-F913-9554-C67E88000F8C}"/>
              </a:ext>
            </a:extLst>
          </p:cNvPr>
          <p:cNvSpPr txBox="1"/>
          <p:nvPr/>
        </p:nvSpPr>
        <p:spPr>
          <a:xfrm>
            <a:off x="6591006" y="4192607"/>
            <a:ext cx="185291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DEDEDA"/>
                </a:solidFill>
              </a:rPr>
              <a:t>Metallverarbeitung</a:t>
            </a: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200014E7-93F6-CE0D-5F54-46EA59F66AFB}"/>
              </a:ext>
            </a:extLst>
          </p:cNvPr>
          <p:cNvSpPr txBox="1"/>
          <p:nvPr/>
        </p:nvSpPr>
        <p:spPr>
          <a:xfrm>
            <a:off x="6824744" y="5034993"/>
            <a:ext cx="187602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69D4FF"/>
                </a:solidFill>
              </a:rPr>
              <a:t>Sekretariate</a:t>
            </a:r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C8A86BD0-9AC9-71D6-CFDE-E099B466A886}"/>
              </a:ext>
            </a:extLst>
          </p:cNvPr>
          <p:cNvSpPr txBox="1"/>
          <p:nvPr/>
        </p:nvSpPr>
        <p:spPr>
          <a:xfrm>
            <a:off x="8373337" y="5246976"/>
            <a:ext cx="143925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chemeClr val="accent2"/>
                </a:solidFill>
              </a:rPr>
              <a:t>Produktion</a:t>
            </a:r>
          </a:p>
        </p:txBody>
      </p:sp>
      <p:sp>
        <p:nvSpPr>
          <p:cNvPr id="83" name="Textfeld 82">
            <a:extLst>
              <a:ext uri="{FF2B5EF4-FFF2-40B4-BE49-F238E27FC236}">
                <a16:creationId xmlns:a16="http://schemas.microsoft.com/office/drawing/2014/main" id="{7617908F-CEE7-7D30-E893-665F02D05495}"/>
              </a:ext>
            </a:extLst>
          </p:cNvPr>
          <p:cNvSpPr txBox="1"/>
          <p:nvPr/>
        </p:nvSpPr>
        <p:spPr>
          <a:xfrm>
            <a:off x="9536077" y="1278269"/>
            <a:ext cx="1624463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69D4FF"/>
                </a:solidFill>
              </a:rPr>
              <a:t>Elektroinstallation</a:t>
            </a:r>
          </a:p>
        </p:txBody>
      </p:sp>
      <p:sp>
        <p:nvSpPr>
          <p:cNvPr id="34" name="Textfeld 33">
            <a:extLst>
              <a:ext uri="{FF2B5EF4-FFF2-40B4-BE49-F238E27FC236}">
                <a16:creationId xmlns:a16="http://schemas.microsoft.com/office/drawing/2014/main" id="{2DD1EFFD-E4AD-0E62-9AA6-687F86A2057E}"/>
              </a:ext>
            </a:extLst>
          </p:cNvPr>
          <p:cNvSpPr txBox="1"/>
          <p:nvPr/>
        </p:nvSpPr>
        <p:spPr>
          <a:xfrm>
            <a:off x="3896484" y="3440627"/>
            <a:ext cx="143925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 dirty="0">
                <a:solidFill>
                  <a:schemeClr val="bg1"/>
                </a:solidFill>
              </a:rPr>
              <a:t>Administration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586C11C4-0D60-CC35-33D6-AA37D13AF719}"/>
              </a:ext>
            </a:extLst>
          </p:cNvPr>
          <p:cNvSpPr txBox="1"/>
          <p:nvPr/>
        </p:nvSpPr>
        <p:spPr>
          <a:xfrm>
            <a:off x="10501848" y="4350762"/>
            <a:ext cx="162446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 dirty="0">
                <a:solidFill>
                  <a:schemeClr val="bg1"/>
                </a:solidFill>
              </a:rPr>
              <a:t>Vertragswesen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9324BB39-B4FF-96D5-0C21-944CBE257C31}"/>
              </a:ext>
            </a:extLst>
          </p:cNvPr>
          <p:cNvSpPr txBox="1"/>
          <p:nvPr/>
        </p:nvSpPr>
        <p:spPr>
          <a:xfrm>
            <a:off x="5154535" y="5141110"/>
            <a:ext cx="1874137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B1ADF9"/>
                </a:solidFill>
              </a:rPr>
              <a:t>Strahlenschutz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29B78830-9B04-A362-883A-72B9319EF0C9}"/>
              </a:ext>
            </a:extLst>
          </p:cNvPr>
          <p:cNvSpPr txBox="1"/>
          <p:nvPr/>
        </p:nvSpPr>
        <p:spPr>
          <a:xfrm>
            <a:off x="8867563" y="5527617"/>
            <a:ext cx="1874136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43DDC0"/>
                </a:solidFill>
              </a:rPr>
              <a:t>Ausbildungsbetreuung</a:t>
            </a:r>
          </a:p>
        </p:txBody>
      </p:sp>
      <p:sp>
        <p:nvSpPr>
          <p:cNvPr id="64" name="Textfeld 63">
            <a:extLst>
              <a:ext uri="{FF2B5EF4-FFF2-40B4-BE49-F238E27FC236}">
                <a16:creationId xmlns:a16="http://schemas.microsoft.com/office/drawing/2014/main" id="{B17BD743-8F44-29E7-9513-8A7453D5C45D}"/>
              </a:ext>
            </a:extLst>
          </p:cNvPr>
          <p:cNvSpPr txBox="1"/>
          <p:nvPr/>
        </p:nvSpPr>
        <p:spPr>
          <a:xfrm>
            <a:off x="9897356" y="4695858"/>
            <a:ext cx="1655253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69D4FF"/>
                </a:solidFill>
              </a:rPr>
              <a:t>Maschinenbau</a:t>
            </a:r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C4FA940C-1A35-F259-1639-02397030FACD}"/>
              </a:ext>
            </a:extLst>
          </p:cNvPr>
          <p:cNvSpPr txBox="1"/>
          <p:nvPr/>
        </p:nvSpPr>
        <p:spPr>
          <a:xfrm>
            <a:off x="8495141" y="4120961"/>
            <a:ext cx="769423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43DDC0"/>
                </a:solidFill>
              </a:rPr>
              <a:t>Einkauf</a:t>
            </a:r>
          </a:p>
        </p:txBody>
      </p:sp>
      <p:sp>
        <p:nvSpPr>
          <p:cNvPr id="70" name="Textfeld 69">
            <a:extLst>
              <a:ext uri="{FF2B5EF4-FFF2-40B4-BE49-F238E27FC236}">
                <a16:creationId xmlns:a16="http://schemas.microsoft.com/office/drawing/2014/main" id="{8F13EA03-0A1D-E95E-9BA1-03B92F8F62FB}"/>
              </a:ext>
            </a:extLst>
          </p:cNvPr>
          <p:cNvSpPr txBox="1"/>
          <p:nvPr/>
        </p:nvSpPr>
        <p:spPr>
          <a:xfrm>
            <a:off x="5050308" y="1916978"/>
            <a:ext cx="143925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DEDEDA"/>
                </a:solidFill>
              </a:rPr>
              <a:t>Versand</a:t>
            </a:r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3F451C88-4D5F-C2A7-FCD8-D8D74A73ABEA}"/>
              </a:ext>
            </a:extLst>
          </p:cNvPr>
          <p:cNvSpPr txBox="1"/>
          <p:nvPr/>
        </p:nvSpPr>
        <p:spPr>
          <a:xfrm>
            <a:off x="6370665" y="1278269"/>
            <a:ext cx="124892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DEDEDA"/>
                </a:solidFill>
              </a:rPr>
              <a:t>Vermessung</a:t>
            </a:r>
          </a:p>
        </p:txBody>
      </p:sp>
      <p:sp>
        <p:nvSpPr>
          <p:cNvPr id="84" name="Textfeld 83">
            <a:extLst>
              <a:ext uri="{FF2B5EF4-FFF2-40B4-BE49-F238E27FC236}">
                <a16:creationId xmlns:a16="http://schemas.microsoft.com/office/drawing/2014/main" id="{0075D9F6-39A9-D40C-74F3-8FB18FD02117}"/>
              </a:ext>
            </a:extLst>
          </p:cNvPr>
          <p:cNvSpPr txBox="1"/>
          <p:nvPr/>
        </p:nvSpPr>
        <p:spPr>
          <a:xfrm>
            <a:off x="8985319" y="532536"/>
            <a:ext cx="2068237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FED776"/>
                </a:solidFill>
              </a:rPr>
              <a:t>Softwareentwicklung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B5DA1E43-583F-CB7A-6343-AA2E7E0ED6F4}"/>
              </a:ext>
            </a:extLst>
          </p:cNvPr>
          <p:cNvSpPr txBox="1"/>
          <p:nvPr/>
        </p:nvSpPr>
        <p:spPr>
          <a:xfrm>
            <a:off x="3823895" y="2536199"/>
            <a:ext cx="253050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DEDEDA"/>
                </a:solidFill>
              </a:rPr>
              <a:t>Gesundheitsmanagement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AC3B58CD-10BC-DFE2-F0A3-017DC8E53563}"/>
              </a:ext>
            </a:extLst>
          </p:cNvPr>
          <p:cNvSpPr txBox="1"/>
          <p:nvPr/>
        </p:nvSpPr>
        <p:spPr>
          <a:xfrm>
            <a:off x="10501848" y="3106564"/>
            <a:ext cx="143925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DEDEDA"/>
                </a:solidFill>
              </a:rPr>
              <a:t>Computing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B9363690-5EA3-491C-98C6-91BF23198BC2}"/>
              </a:ext>
            </a:extLst>
          </p:cNvPr>
          <p:cNvSpPr txBox="1"/>
          <p:nvPr/>
        </p:nvSpPr>
        <p:spPr>
          <a:xfrm>
            <a:off x="6905164" y="2028028"/>
            <a:ext cx="238826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chemeClr val="bg1"/>
                </a:solidFill>
              </a:rPr>
              <a:t>Fernmeldeelektronik</a:t>
            </a:r>
          </a:p>
        </p:txBody>
      </p:sp>
      <p:sp>
        <p:nvSpPr>
          <p:cNvPr id="33" name="Textfeld 32">
            <a:extLst>
              <a:ext uri="{FF2B5EF4-FFF2-40B4-BE49-F238E27FC236}">
                <a16:creationId xmlns:a16="http://schemas.microsoft.com/office/drawing/2014/main" id="{A2158C63-ADE2-70FC-4AE2-AF6BBE70C8ED}"/>
              </a:ext>
            </a:extLst>
          </p:cNvPr>
          <p:cNvSpPr txBox="1"/>
          <p:nvPr/>
        </p:nvSpPr>
        <p:spPr>
          <a:xfrm>
            <a:off x="6814799" y="3879345"/>
            <a:ext cx="143925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69D4FF"/>
                </a:solidFill>
              </a:rPr>
              <a:t>Bauzeichnung</a:t>
            </a: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5131A83E-DD29-DAA1-772B-E222E5BF5606}"/>
              </a:ext>
            </a:extLst>
          </p:cNvPr>
          <p:cNvSpPr txBox="1"/>
          <p:nvPr/>
        </p:nvSpPr>
        <p:spPr>
          <a:xfrm>
            <a:off x="5537328" y="3907757"/>
            <a:ext cx="1197666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43DDC0"/>
                </a:solidFill>
              </a:rPr>
              <a:t>Mechanik</a:t>
            </a:r>
          </a:p>
        </p:txBody>
      </p:sp>
      <p:sp>
        <p:nvSpPr>
          <p:cNvPr id="37" name="Textfeld 36">
            <a:extLst>
              <a:ext uri="{FF2B5EF4-FFF2-40B4-BE49-F238E27FC236}">
                <a16:creationId xmlns:a16="http://schemas.microsoft.com/office/drawing/2014/main" id="{6C156531-C1A6-3BD4-992D-5E733C7746E8}"/>
              </a:ext>
            </a:extLst>
          </p:cNvPr>
          <p:cNvSpPr txBox="1"/>
          <p:nvPr/>
        </p:nvSpPr>
        <p:spPr>
          <a:xfrm>
            <a:off x="10133013" y="5736567"/>
            <a:ext cx="194693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43DDC0"/>
                </a:solidFill>
              </a:rPr>
              <a:t>Personalentwicklung</a:t>
            </a:r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63383C04-A1AF-0286-2C6C-A5D4E11A1DE0}"/>
              </a:ext>
            </a:extLst>
          </p:cNvPr>
          <p:cNvSpPr txBox="1"/>
          <p:nvPr/>
        </p:nvSpPr>
        <p:spPr>
          <a:xfrm>
            <a:off x="6840896" y="5277635"/>
            <a:ext cx="1667206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DEDEDA"/>
                </a:solidFill>
              </a:rPr>
              <a:t>Personalbetreuung</a:t>
            </a:r>
          </a:p>
        </p:txBody>
      </p:sp>
      <p:sp>
        <p:nvSpPr>
          <p:cNvPr id="56" name="Textfeld 55">
            <a:extLst>
              <a:ext uri="{FF2B5EF4-FFF2-40B4-BE49-F238E27FC236}">
                <a16:creationId xmlns:a16="http://schemas.microsoft.com/office/drawing/2014/main" id="{AD02BE8A-5787-DDC8-7CD0-62B748939086}"/>
              </a:ext>
            </a:extLst>
          </p:cNvPr>
          <p:cNvSpPr txBox="1"/>
          <p:nvPr/>
        </p:nvSpPr>
        <p:spPr>
          <a:xfrm>
            <a:off x="5569510" y="4468873"/>
            <a:ext cx="1986269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43DDC0"/>
                </a:solidFill>
              </a:rPr>
              <a:t>Anlagenbuchhaltung</a:t>
            </a: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E2614E07-84F1-E274-E5AB-AABDDA29F027}"/>
              </a:ext>
            </a:extLst>
          </p:cNvPr>
          <p:cNvSpPr txBox="1"/>
          <p:nvPr/>
        </p:nvSpPr>
        <p:spPr>
          <a:xfrm>
            <a:off x="9349263" y="4210584"/>
            <a:ext cx="150098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FED776"/>
                </a:solidFill>
              </a:rPr>
              <a:t>Ingenieure</a:t>
            </a: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E9A19212-585A-8204-2408-A42E49C19769}"/>
              </a:ext>
            </a:extLst>
          </p:cNvPr>
          <p:cNvSpPr txBox="1"/>
          <p:nvPr/>
        </p:nvSpPr>
        <p:spPr>
          <a:xfrm>
            <a:off x="9183819" y="5007922"/>
            <a:ext cx="92853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93C6FF"/>
                </a:solidFill>
              </a:rPr>
              <a:t>Gerätebau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C99E5604-67E3-8685-DBDC-229B25E0D68A}"/>
              </a:ext>
            </a:extLst>
          </p:cNvPr>
          <p:cNvSpPr txBox="1"/>
          <p:nvPr/>
        </p:nvSpPr>
        <p:spPr>
          <a:xfrm>
            <a:off x="3969115" y="1958049"/>
            <a:ext cx="143925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43DDC0"/>
                </a:solidFill>
              </a:rPr>
              <a:t>Konstruktion</a:t>
            </a:r>
          </a:p>
        </p:txBody>
      </p:sp>
      <p:sp>
        <p:nvSpPr>
          <p:cNvPr id="79" name="Textfeld 78">
            <a:extLst>
              <a:ext uri="{FF2B5EF4-FFF2-40B4-BE49-F238E27FC236}">
                <a16:creationId xmlns:a16="http://schemas.microsoft.com/office/drawing/2014/main" id="{0CF88567-1CCB-21AC-3F4E-713FEAF4F1A9}"/>
              </a:ext>
            </a:extLst>
          </p:cNvPr>
          <p:cNvSpPr txBox="1"/>
          <p:nvPr/>
        </p:nvSpPr>
        <p:spPr>
          <a:xfrm>
            <a:off x="5050308" y="1278269"/>
            <a:ext cx="1474747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chemeClr val="bg1"/>
                </a:solidFill>
              </a:rPr>
              <a:t>Astrophysik</a:t>
            </a:r>
          </a:p>
        </p:txBody>
      </p:sp>
      <p:sp>
        <p:nvSpPr>
          <p:cNvPr id="85" name="Textfeld 84">
            <a:extLst>
              <a:ext uri="{FF2B5EF4-FFF2-40B4-BE49-F238E27FC236}">
                <a16:creationId xmlns:a16="http://schemas.microsoft.com/office/drawing/2014/main" id="{B58E2529-159F-3B6C-81FA-4638811D36CE}"/>
              </a:ext>
            </a:extLst>
          </p:cNvPr>
          <p:cNvSpPr txBox="1"/>
          <p:nvPr/>
        </p:nvSpPr>
        <p:spPr>
          <a:xfrm>
            <a:off x="8439198" y="998322"/>
            <a:ext cx="195374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93C6FF"/>
                </a:solidFill>
              </a:rPr>
              <a:t>Hardwareentwicklung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243AF35B-BB24-71DC-4E5C-BB5995D9EA10}"/>
              </a:ext>
            </a:extLst>
          </p:cNvPr>
          <p:cNvSpPr txBox="1"/>
          <p:nvPr/>
        </p:nvSpPr>
        <p:spPr>
          <a:xfrm>
            <a:off x="8160024" y="2956599"/>
            <a:ext cx="143925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43DDC0"/>
                </a:solidFill>
              </a:rPr>
              <a:t>Metallbau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DA1E4907-E199-0110-B1A1-B671CC0251AE}"/>
              </a:ext>
            </a:extLst>
          </p:cNvPr>
          <p:cNvSpPr txBox="1"/>
          <p:nvPr/>
        </p:nvSpPr>
        <p:spPr>
          <a:xfrm>
            <a:off x="5972195" y="2372485"/>
            <a:ext cx="84343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93C6FF"/>
                </a:solidFill>
              </a:rPr>
              <a:t>Optik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E2BA9581-B810-3484-EEC9-E2446AEE22E9}"/>
              </a:ext>
            </a:extLst>
          </p:cNvPr>
          <p:cNvSpPr txBox="1"/>
          <p:nvPr/>
        </p:nvSpPr>
        <p:spPr>
          <a:xfrm>
            <a:off x="7309413" y="3513019"/>
            <a:ext cx="162446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43DDC0"/>
                </a:solidFill>
              </a:rPr>
              <a:t>Steuerwesen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7495450E-6BF8-B2E2-3DA4-9B53C7A62D9A}"/>
              </a:ext>
            </a:extLst>
          </p:cNvPr>
          <p:cNvSpPr txBox="1"/>
          <p:nvPr/>
        </p:nvSpPr>
        <p:spPr>
          <a:xfrm>
            <a:off x="8139430" y="3791258"/>
            <a:ext cx="109736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B1ADF9"/>
                </a:solidFill>
              </a:rPr>
              <a:t>Assistenz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6556704A-00BD-F60A-5A7A-548A77A214A3}"/>
              </a:ext>
            </a:extLst>
          </p:cNvPr>
          <p:cNvSpPr txBox="1"/>
          <p:nvPr/>
        </p:nvSpPr>
        <p:spPr>
          <a:xfrm>
            <a:off x="7801151" y="2287689"/>
            <a:ext cx="143925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43DDC0"/>
                </a:solidFill>
              </a:rPr>
              <a:t>Zeichnen</a:t>
            </a:r>
          </a:p>
        </p:txBody>
      </p:sp>
      <p:sp>
        <p:nvSpPr>
          <p:cNvPr id="32" name="Textfeld 31">
            <a:extLst>
              <a:ext uri="{FF2B5EF4-FFF2-40B4-BE49-F238E27FC236}">
                <a16:creationId xmlns:a16="http://schemas.microsoft.com/office/drawing/2014/main" id="{C5985B11-54FC-9AA0-A274-0450CD2269F7}"/>
              </a:ext>
            </a:extLst>
          </p:cNvPr>
          <p:cNvSpPr txBox="1"/>
          <p:nvPr/>
        </p:nvSpPr>
        <p:spPr>
          <a:xfrm>
            <a:off x="6061709" y="3646180"/>
            <a:ext cx="143925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43DDC0"/>
                </a:solidFill>
              </a:rPr>
              <a:t>Elektronik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216518BD-BC6A-01AD-BB8B-DA91BA49037C}"/>
              </a:ext>
            </a:extLst>
          </p:cNvPr>
          <p:cNvSpPr txBox="1"/>
          <p:nvPr/>
        </p:nvSpPr>
        <p:spPr>
          <a:xfrm>
            <a:off x="3911214" y="3748096"/>
            <a:ext cx="187602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69D4FF"/>
                </a:solidFill>
              </a:rPr>
              <a:t>Feingeräteelektronik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E7A5D1BA-A3C8-4DE3-D34A-987D4567A999}"/>
              </a:ext>
            </a:extLst>
          </p:cNvPr>
          <p:cNvSpPr txBox="1"/>
          <p:nvPr/>
        </p:nvSpPr>
        <p:spPr>
          <a:xfrm>
            <a:off x="3611050" y="5139718"/>
            <a:ext cx="143925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FED776"/>
                </a:solidFill>
              </a:rPr>
              <a:t>Lagerlogistik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4C364BD3-86FA-D0E7-2571-31DE1F8FC6B8}"/>
              </a:ext>
            </a:extLst>
          </p:cNvPr>
          <p:cNvSpPr txBox="1"/>
          <p:nvPr/>
        </p:nvSpPr>
        <p:spPr>
          <a:xfrm>
            <a:off x="6188978" y="5525376"/>
            <a:ext cx="1400153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93C6FF"/>
                </a:solidFill>
              </a:rPr>
              <a:t>Lasertechnik</a:t>
            </a:r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01AF8AA0-0FFC-6342-42B8-7004AA2BE004}"/>
              </a:ext>
            </a:extLst>
          </p:cNvPr>
          <p:cNvSpPr txBox="1"/>
          <p:nvPr/>
        </p:nvSpPr>
        <p:spPr>
          <a:xfrm>
            <a:off x="4139887" y="5590927"/>
            <a:ext cx="191627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DEDEDA"/>
                </a:solidFill>
              </a:rPr>
              <a:t>Vermessungstechnik</a:t>
            </a:r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E4759539-1A57-5BCA-0E4A-65C1DA98FCBC}"/>
              </a:ext>
            </a:extLst>
          </p:cNvPr>
          <p:cNvSpPr txBox="1"/>
          <p:nvPr/>
        </p:nvSpPr>
        <p:spPr>
          <a:xfrm>
            <a:off x="7717837" y="4758727"/>
            <a:ext cx="162446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43DDC0"/>
                </a:solidFill>
              </a:rPr>
              <a:t>Abrechnungswesen</a:t>
            </a:r>
          </a:p>
        </p:txBody>
      </p:sp>
      <p:sp>
        <p:nvSpPr>
          <p:cNvPr id="57" name="Textfeld 56">
            <a:extLst>
              <a:ext uri="{FF2B5EF4-FFF2-40B4-BE49-F238E27FC236}">
                <a16:creationId xmlns:a16="http://schemas.microsoft.com/office/drawing/2014/main" id="{7E30FBF5-E0BA-F5AE-0E56-F0974B2AA79D}"/>
              </a:ext>
            </a:extLst>
          </p:cNvPr>
          <p:cNvSpPr txBox="1"/>
          <p:nvPr/>
        </p:nvSpPr>
        <p:spPr>
          <a:xfrm>
            <a:off x="5013202" y="4188315"/>
            <a:ext cx="1527357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chemeClr val="bg1"/>
                </a:solidFill>
              </a:rPr>
              <a:t>Produktdesign</a:t>
            </a:r>
          </a:p>
        </p:txBody>
      </p:sp>
      <p:sp>
        <p:nvSpPr>
          <p:cNvPr id="59" name="Textfeld 58">
            <a:extLst>
              <a:ext uri="{FF2B5EF4-FFF2-40B4-BE49-F238E27FC236}">
                <a16:creationId xmlns:a16="http://schemas.microsoft.com/office/drawing/2014/main" id="{083F0B31-B588-5301-8016-4E3DAA1BCE96}"/>
              </a:ext>
            </a:extLst>
          </p:cNvPr>
          <p:cNvSpPr txBox="1"/>
          <p:nvPr/>
        </p:nvSpPr>
        <p:spPr>
          <a:xfrm>
            <a:off x="8975585" y="3568897"/>
            <a:ext cx="1655253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69D4FF"/>
                </a:solidFill>
              </a:rPr>
              <a:t>Sachbearbeitung</a:t>
            </a:r>
          </a:p>
        </p:txBody>
      </p:sp>
      <p:sp>
        <p:nvSpPr>
          <p:cNvPr id="71" name="Textfeld 70">
            <a:extLst>
              <a:ext uri="{FF2B5EF4-FFF2-40B4-BE49-F238E27FC236}">
                <a16:creationId xmlns:a16="http://schemas.microsoft.com/office/drawing/2014/main" id="{7D6A8432-6081-3249-9773-7C56FA125C0E}"/>
              </a:ext>
            </a:extLst>
          </p:cNvPr>
          <p:cNvSpPr txBox="1"/>
          <p:nvPr/>
        </p:nvSpPr>
        <p:spPr>
          <a:xfrm>
            <a:off x="4163750" y="1543312"/>
            <a:ext cx="143925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DEDEDA"/>
                </a:solidFill>
              </a:rPr>
              <a:t>Systemtechnik</a:t>
            </a:r>
          </a:p>
        </p:txBody>
      </p:sp>
      <p:sp>
        <p:nvSpPr>
          <p:cNvPr id="72" name="Textfeld 71">
            <a:extLst>
              <a:ext uri="{FF2B5EF4-FFF2-40B4-BE49-F238E27FC236}">
                <a16:creationId xmlns:a16="http://schemas.microsoft.com/office/drawing/2014/main" id="{EC53477C-F9AA-5927-11E6-B94A59086F14}"/>
              </a:ext>
            </a:extLst>
          </p:cNvPr>
          <p:cNvSpPr txBox="1"/>
          <p:nvPr/>
        </p:nvSpPr>
        <p:spPr>
          <a:xfrm>
            <a:off x="5748965" y="1543312"/>
            <a:ext cx="220255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B1ADF9"/>
                </a:solidFill>
              </a:rPr>
              <a:t>Fremdsprachenassistenz</a:t>
            </a:r>
          </a:p>
        </p:txBody>
      </p:sp>
      <p:sp>
        <p:nvSpPr>
          <p:cNvPr id="73" name="Textfeld 72">
            <a:extLst>
              <a:ext uri="{FF2B5EF4-FFF2-40B4-BE49-F238E27FC236}">
                <a16:creationId xmlns:a16="http://schemas.microsoft.com/office/drawing/2014/main" id="{EE1E6EA1-4DF7-57B1-62F2-974BB03DAC1D}"/>
              </a:ext>
            </a:extLst>
          </p:cNvPr>
          <p:cNvSpPr txBox="1"/>
          <p:nvPr/>
        </p:nvSpPr>
        <p:spPr>
          <a:xfrm>
            <a:off x="6223487" y="1769617"/>
            <a:ext cx="2068237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43DDC0"/>
                </a:solidFill>
              </a:rPr>
              <a:t>Projektmittelverwaltung</a:t>
            </a:r>
          </a:p>
        </p:txBody>
      </p:sp>
      <p:sp>
        <p:nvSpPr>
          <p:cNvPr id="74" name="Textfeld 73">
            <a:extLst>
              <a:ext uri="{FF2B5EF4-FFF2-40B4-BE49-F238E27FC236}">
                <a16:creationId xmlns:a16="http://schemas.microsoft.com/office/drawing/2014/main" id="{08AB1712-E910-0EB6-D5DF-6A375AC81B5A}"/>
              </a:ext>
            </a:extLst>
          </p:cNvPr>
          <p:cNvSpPr txBox="1"/>
          <p:nvPr/>
        </p:nvSpPr>
        <p:spPr>
          <a:xfrm>
            <a:off x="7500967" y="1278269"/>
            <a:ext cx="2087707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B1ADF9"/>
                </a:solidFill>
              </a:rPr>
              <a:t>Industrieelektronik</a:t>
            </a:r>
          </a:p>
        </p:txBody>
      </p:sp>
      <p:sp>
        <p:nvSpPr>
          <p:cNvPr id="75" name="Textfeld 74">
            <a:extLst>
              <a:ext uri="{FF2B5EF4-FFF2-40B4-BE49-F238E27FC236}">
                <a16:creationId xmlns:a16="http://schemas.microsoft.com/office/drawing/2014/main" id="{CD869929-0ADF-DA36-6979-E9325E6CFCD2}"/>
              </a:ext>
            </a:extLst>
          </p:cNvPr>
          <p:cNvSpPr txBox="1"/>
          <p:nvPr/>
        </p:nvSpPr>
        <p:spPr>
          <a:xfrm>
            <a:off x="8893479" y="1828254"/>
            <a:ext cx="2388260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chemeClr val="bg1"/>
                </a:solidFill>
              </a:rPr>
              <a:t>Kommunikationstechnologie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9B138FED-0C4A-8E59-D175-149CE5BE2BF6}"/>
              </a:ext>
            </a:extLst>
          </p:cNvPr>
          <p:cNvSpPr txBox="1"/>
          <p:nvPr/>
        </p:nvSpPr>
        <p:spPr>
          <a:xfrm>
            <a:off x="7287062" y="2598819"/>
            <a:ext cx="162446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chemeClr val="bg1"/>
                </a:solidFill>
              </a:rPr>
              <a:t>Prozessoptimierung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5DD5B2EC-C2A5-FA01-9042-357666AF2D2E}"/>
              </a:ext>
            </a:extLst>
          </p:cNvPr>
          <p:cNvSpPr txBox="1"/>
          <p:nvPr/>
        </p:nvSpPr>
        <p:spPr>
          <a:xfrm>
            <a:off x="4468048" y="998322"/>
            <a:ext cx="223963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43DDC0"/>
                </a:solidFill>
              </a:rPr>
              <a:t>Konstruktionsmechanik</a:t>
            </a:r>
          </a:p>
        </p:txBody>
      </p:sp>
      <p:sp>
        <p:nvSpPr>
          <p:cNvPr id="86" name="Textfeld 85">
            <a:extLst>
              <a:ext uri="{FF2B5EF4-FFF2-40B4-BE49-F238E27FC236}">
                <a16:creationId xmlns:a16="http://schemas.microsoft.com/office/drawing/2014/main" id="{D7D8DFD4-B260-20B6-1EFE-749F1217BCF9}"/>
              </a:ext>
            </a:extLst>
          </p:cNvPr>
          <p:cNvSpPr txBox="1"/>
          <p:nvPr/>
        </p:nvSpPr>
        <p:spPr>
          <a:xfrm>
            <a:off x="4849163" y="718374"/>
            <a:ext cx="162446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rgbClr val="69D4FF"/>
                </a:solidFill>
              </a:rPr>
              <a:t>Rechnungswesen</a:t>
            </a:r>
          </a:p>
        </p:txBody>
      </p:sp>
      <p:sp>
        <p:nvSpPr>
          <p:cNvPr id="87" name="Textfeld 86">
            <a:extLst>
              <a:ext uri="{FF2B5EF4-FFF2-40B4-BE49-F238E27FC236}">
                <a16:creationId xmlns:a16="http://schemas.microsoft.com/office/drawing/2014/main" id="{0321876B-6F0F-9242-096D-10445F76000A}"/>
              </a:ext>
            </a:extLst>
          </p:cNvPr>
          <p:cNvSpPr txBox="1"/>
          <p:nvPr/>
        </p:nvSpPr>
        <p:spPr>
          <a:xfrm>
            <a:off x="8079507" y="1543312"/>
            <a:ext cx="203074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/>
            <a:r>
              <a:rPr lang="de-CH" sz="1600">
                <a:solidFill>
                  <a:schemeClr val="bg1"/>
                </a:solidFill>
              </a:rPr>
              <a:t>FacilityManagement</a:t>
            </a:r>
          </a:p>
        </p:txBody>
      </p:sp>
      <p:sp>
        <p:nvSpPr>
          <p:cNvPr id="2" name="Textplatzhalter 10">
            <a:extLst>
              <a:ext uri="{FF2B5EF4-FFF2-40B4-BE49-F238E27FC236}">
                <a16:creationId xmlns:a16="http://schemas.microsoft.com/office/drawing/2014/main" id="{2012FD70-3A9A-C5D8-AA27-FB64BE103D23}"/>
              </a:ext>
            </a:extLst>
          </p:cNvPr>
          <p:cNvSpPr txBox="1">
            <a:spLocks/>
          </p:cNvSpPr>
          <p:nvPr/>
        </p:nvSpPr>
        <p:spPr>
          <a:xfrm>
            <a:off x="719400" y="1672918"/>
            <a:ext cx="3204993" cy="3781637"/>
          </a:xfrm>
          <a:prstGeom prst="rect">
            <a:avLst/>
          </a:prstGeom>
          <a:ln w="6350">
            <a:noFill/>
          </a:ln>
          <a:effectLst/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0" indent="-216000" algn="l" defTabSz="914400" rtl="0" eaLnBrk="1" latinLnBrk="0" hangingPunct="1">
              <a:lnSpc>
                <a:spcPct val="105000"/>
              </a:lnSpc>
              <a:spcBef>
                <a:spcPts val="18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 cap="all" spc="70" baseline="0">
                <a:gradFill>
                  <a:gsLst>
                    <a:gs pos="73441">
                      <a:srgbClr val="006B99"/>
                    </a:gs>
                    <a:gs pos="31900">
                      <a:srgbClr val="00579A"/>
                    </a:gs>
                    <a:gs pos="0">
                      <a:srgbClr val="00499A"/>
                    </a:gs>
                    <a:gs pos="100000">
                      <a:srgbClr val="007B98"/>
                    </a:gs>
                  </a:gsLst>
                  <a:lin ang="0" scaled="0"/>
                </a:gra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lvl="1" indent="0">
              <a:lnSpc>
                <a:spcPts val="1800"/>
              </a:lnSpc>
              <a:spcBef>
                <a:spcPts val="0"/>
              </a:spcBef>
              <a:buNone/>
            </a:pPr>
            <a:endParaRPr lang="de-DE" sz="5000" b="1" dirty="0">
              <a:solidFill>
                <a:schemeClr val="bg1"/>
              </a:solidFill>
              <a:latin typeface="+mj-lt"/>
            </a:endParaRPr>
          </a:p>
          <a:p>
            <a:pPr marL="0" lvl="1" indent="0">
              <a:lnSpc>
                <a:spcPts val="1800"/>
              </a:lnSpc>
              <a:spcBef>
                <a:spcPts val="0"/>
              </a:spcBef>
              <a:buNone/>
            </a:pPr>
            <a:r>
              <a:rPr lang="de-DE" sz="5000" b="1" dirty="0">
                <a:solidFill>
                  <a:schemeClr val="bg1"/>
                </a:solidFill>
                <a:latin typeface="+mj-lt"/>
              </a:rPr>
              <a:t>1000</a:t>
            </a:r>
            <a:r>
              <a:rPr lang="de-DE" sz="5000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positions</a:t>
            </a:r>
            <a:r>
              <a:rPr lang="de-DE" dirty="0">
                <a:solidFill>
                  <a:schemeClr val="bg1"/>
                </a:solidFill>
              </a:rPr>
              <a:t> at </a:t>
            </a:r>
            <a:r>
              <a:rPr lang="de-DE" dirty="0" err="1">
                <a:solidFill>
                  <a:schemeClr val="bg1"/>
                </a:solidFill>
              </a:rPr>
              <a:t>the</a:t>
            </a:r>
            <a:r>
              <a:rPr lang="de-DE" dirty="0">
                <a:solidFill>
                  <a:schemeClr val="bg1"/>
                </a:solidFill>
              </a:rPr>
              <a:t> DZA</a:t>
            </a:r>
          </a:p>
          <a:p>
            <a:pPr marL="0" lvl="1" indent="0">
              <a:lnSpc>
                <a:spcPts val="1800"/>
              </a:lnSpc>
              <a:spcBef>
                <a:spcPts val="0"/>
              </a:spcBef>
              <a:buNone/>
            </a:pPr>
            <a:endParaRPr lang="de-DE" sz="5000" dirty="0">
              <a:solidFill>
                <a:schemeClr val="bg1"/>
              </a:solidFill>
            </a:endParaRPr>
          </a:p>
          <a:p>
            <a:pPr marL="0" lvl="1" indent="0">
              <a:lnSpc>
                <a:spcPts val="1800"/>
              </a:lnSpc>
              <a:spcBef>
                <a:spcPts val="0"/>
              </a:spcBef>
              <a:buNone/>
            </a:pPr>
            <a:endParaRPr lang="de-DE" sz="5000" dirty="0">
              <a:solidFill>
                <a:schemeClr val="bg1"/>
              </a:solidFill>
              <a:latin typeface="+mj-lt"/>
            </a:endParaRPr>
          </a:p>
          <a:p>
            <a:pPr marL="0" lvl="1" indent="0">
              <a:lnSpc>
                <a:spcPts val="1800"/>
              </a:lnSpc>
              <a:spcBef>
                <a:spcPts val="0"/>
              </a:spcBef>
              <a:buNone/>
            </a:pPr>
            <a:r>
              <a:rPr lang="de-DE" sz="5000" b="1" dirty="0">
                <a:solidFill>
                  <a:schemeClr val="bg1"/>
                </a:solidFill>
                <a:latin typeface="+mj-lt"/>
              </a:rPr>
              <a:t>35</a:t>
            </a:r>
            <a:r>
              <a:rPr lang="de-DE" sz="2500" b="1" dirty="0">
                <a:solidFill>
                  <a:schemeClr val="bg1"/>
                </a:solidFill>
                <a:latin typeface="+mj-lt"/>
              </a:rPr>
              <a:t>%</a:t>
            </a:r>
            <a:r>
              <a:rPr lang="de-DE" sz="3500" b="1" dirty="0">
                <a:solidFill>
                  <a:schemeClr val="bg1"/>
                </a:solidFill>
                <a:latin typeface="+mj-lt"/>
              </a:rPr>
              <a:t> </a:t>
            </a:r>
            <a:br>
              <a:rPr lang="de-DE" sz="3500" dirty="0">
                <a:solidFill>
                  <a:schemeClr val="bg1"/>
                </a:solidFill>
              </a:rPr>
            </a:br>
            <a:r>
              <a:rPr lang="de-DE" dirty="0" err="1">
                <a:solidFill>
                  <a:schemeClr val="bg1"/>
                </a:solidFill>
              </a:rPr>
              <a:t>scientific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positions</a:t>
            </a:r>
            <a:endParaRPr lang="de-DE" dirty="0">
              <a:solidFill>
                <a:schemeClr val="bg1"/>
              </a:solidFill>
            </a:endParaRPr>
          </a:p>
          <a:p>
            <a:pPr marL="0" lvl="1" indent="0">
              <a:lnSpc>
                <a:spcPts val="1800"/>
              </a:lnSpc>
              <a:spcBef>
                <a:spcPts val="3600"/>
              </a:spcBef>
              <a:buNone/>
            </a:pPr>
            <a:r>
              <a:rPr lang="de-DE" sz="5000" b="1" dirty="0">
                <a:solidFill>
                  <a:schemeClr val="bg1"/>
                </a:solidFill>
                <a:latin typeface="+mj-lt"/>
              </a:rPr>
              <a:t>65</a:t>
            </a:r>
            <a:r>
              <a:rPr lang="de-DE" sz="2500" b="1" dirty="0">
                <a:solidFill>
                  <a:schemeClr val="bg1"/>
                </a:solidFill>
                <a:latin typeface="+mj-lt"/>
              </a:rPr>
              <a:t>%</a:t>
            </a:r>
            <a:r>
              <a:rPr lang="de-DE" sz="3500" b="1" dirty="0">
                <a:solidFill>
                  <a:schemeClr val="bg1"/>
                </a:solidFill>
                <a:latin typeface="+mj-lt"/>
              </a:rPr>
              <a:t> </a:t>
            </a:r>
            <a:br>
              <a:rPr lang="de-DE" sz="3500" dirty="0">
                <a:solidFill>
                  <a:schemeClr val="bg1"/>
                </a:solidFill>
              </a:rPr>
            </a:br>
            <a:r>
              <a:rPr lang="de-DE" dirty="0" err="1">
                <a:solidFill>
                  <a:schemeClr val="bg1"/>
                </a:solidFill>
              </a:rPr>
              <a:t>of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posts</a:t>
            </a:r>
            <a:r>
              <a:rPr lang="de-DE" dirty="0">
                <a:solidFill>
                  <a:schemeClr val="bg1"/>
                </a:solidFill>
              </a:rPr>
              <a:t> in </a:t>
            </a:r>
            <a:r>
              <a:rPr lang="de-DE" dirty="0" err="1">
                <a:solidFill>
                  <a:schemeClr val="bg1"/>
                </a:solidFill>
              </a:rPr>
              <a:t>the</a:t>
            </a:r>
            <a:r>
              <a:rPr lang="de-DE" dirty="0">
                <a:solidFill>
                  <a:schemeClr val="bg1"/>
                </a:solidFill>
              </a:rPr>
              <a:t> non-</a:t>
            </a:r>
            <a:r>
              <a:rPr lang="de-DE" dirty="0" err="1">
                <a:solidFill>
                  <a:schemeClr val="bg1"/>
                </a:solidFill>
              </a:rPr>
              <a:t>scientific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area</a:t>
            </a:r>
            <a:endParaRPr lang="de-DE" dirty="0">
              <a:solidFill>
                <a:schemeClr val="bg1"/>
              </a:solidFill>
            </a:endParaRPr>
          </a:p>
          <a:p>
            <a:pPr marL="0" lvl="1" indent="0">
              <a:lnSpc>
                <a:spcPts val="1800"/>
              </a:lnSpc>
              <a:spcBef>
                <a:spcPts val="3600"/>
              </a:spcBef>
              <a:buNone/>
            </a:pPr>
            <a:r>
              <a:rPr lang="de-DE" sz="5000" b="1" dirty="0">
                <a:solidFill>
                  <a:schemeClr val="bg1"/>
                </a:solidFill>
                <a:latin typeface="+mj-lt"/>
              </a:rPr>
              <a:t>3</a:t>
            </a:r>
            <a:r>
              <a:rPr lang="de-DE" sz="5000" dirty="0">
                <a:solidFill>
                  <a:schemeClr val="bg1"/>
                </a:solidFill>
              </a:rPr>
              <a:t> </a:t>
            </a:r>
            <a:r>
              <a:rPr lang="de-DE" dirty="0">
                <a:solidFill>
                  <a:schemeClr val="bg1"/>
                </a:solidFill>
              </a:rPr>
              <a:t>Job </a:t>
            </a:r>
            <a:r>
              <a:rPr lang="de-DE" dirty="0" err="1">
                <a:solidFill>
                  <a:schemeClr val="bg1"/>
                </a:solidFill>
              </a:rPr>
              <a:t>multiplication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factor</a:t>
            </a:r>
            <a:endParaRPr lang="de-DE" sz="5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186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75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5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4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0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3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6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9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2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2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5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4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7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0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3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6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9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2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5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8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9" fill="hold">
                            <p:stCondLst>
                              <p:cond delay="1250"/>
                            </p:stCondLst>
                            <p:childTnLst>
                              <p:par>
                                <p:cTn id="230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2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7" grpId="0"/>
      <p:bldP spid="20" grpId="0"/>
      <p:bldP spid="29" grpId="0"/>
      <p:bldP spid="35" grpId="0"/>
      <p:bldP spid="45" grpId="0"/>
      <p:bldP spid="46" grpId="0"/>
      <p:bldP spid="47" grpId="0"/>
      <p:bldP spid="54" grpId="0"/>
      <p:bldP spid="55" grpId="0"/>
      <p:bldP spid="63" grpId="0"/>
      <p:bldP spid="67" grpId="0"/>
      <p:bldP spid="69" grpId="0"/>
      <p:bldP spid="80" grpId="0"/>
      <p:bldP spid="81" grpId="0"/>
      <p:bldP spid="82" grpId="0"/>
      <p:bldP spid="14" grpId="0"/>
      <p:bldP spid="18" grpId="0"/>
      <p:bldP spid="22" grpId="0"/>
      <p:bldP spid="27" grpId="0"/>
      <p:bldP spid="28" grpId="0"/>
      <p:bldP spid="30" grpId="0"/>
      <p:bldP spid="31" grpId="0"/>
      <p:bldP spid="68" grpId="0"/>
      <p:bldP spid="58" grpId="0"/>
      <p:bldP spid="60" grpId="0"/>
      <p:bldP spid="65" grpId="0"/>
      <p:bldP spid="83" grpId="0"/>
      <p:bldP spid="34" grpId="0"/>
      <p:bldP spid="44" grpId="0"/>
      <p:bldP spid="50" grpId="0"/>
      <p:bldP spid="51" grpId="0"/>
      <p:bldP spid="64" grpId="0"/>
      <p:bldP spid="66" grpId="0"/>
      <p:bldP spid="70" grpId="0"/>
      <p:bldP spid="78" grpId="0"/>
      <p:bldP spid="84" grpId="0"/>
      <p:bldP spid="19" grpId="0"/>
      <p:bldP spid="25" grpId="0"/>
      <p:bldP spid="26" grpId="0"/>
      <p:bldP spid="33" grpId="0"/>
      <p:bldP spid="36" grpId="0"/>
      <p:bldP spid="37" grpId="0"/>
      <p:bldP spid="52" grpId="0"/>
      <p:bldP spid="56" grpId="0"/>
      <p:bldP spid="61" grpId="0"/>
      <p:bldP spid="62" grpId="0"/>
      <p:bldP spid="39" grpId="0"/>
      <p:bldP spid="79" grpId="0"/>
      <p:bldP spid="85" grpId="0"/>
      <p:bldP spid="15" grpId="0"/>
      <p:bldP spid="16" grpId="0"/>
      <p:bldP spid="21" grpId="0"/>
      <p:bldP spid="23" grpId="0"/>
      <p:bldP spid="24" grpId="0"/>
      <p:bldP spid="32" grpId="0"/>
      <p:bldP spid="38" grpId="0"/>
      <p:bldP spid="43" grpId="0"/>
      <p:bldP spid="48" grpId="0"/>
      <p:bldP spid="49" grpId="0"/>
      <p:bldP spid="53" grpId="0"/>
      <p:bldP spid="57" grpId="0"/>
      <p:bldP spid="59" grpId="0"/>
      <p:bldP spid="71" grpId="0"/>
      <p:bldP spid="72" grpId="0"/>
      <p:bldP spid="73" grpId="0"/>
      <p:bldP spid="74" grpId="0"/>
      <p:bldP spid="75" grpId="0"/>
      <p:bldP spid="76" grpId="0"/>
      <p:bldP spid="77" grpId="0"/>
      <p:bldP spid="86" grpId="0"/>
      <p:bldP spid="87" grpId="0"/>
      <p:bldP spid="2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1AE5DD-1783-88A9-330E-B2ED72B437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400" y="0"/>
            <a:ext cx="5160700" cy="1080656"/>
          </a:xfrm>
        </p:spPr>
        <p:txBody>
          <a:bodyPr/>
          <a:lstStyle/>
          <a:p>
            <a:r>
              <a:rPr lang="en-GB" dirty="0"/>
              <a:t>From kindergarten to professor: </a:t>
            </a:r>
            <a:br>
              <a:rPr lang="en-GB" dirty="0"/>
            </a:br>
            <a:r>
              <a:rPr lang="en-GB" dirty="0"/>
              <a:t>All things education</a:t>
            </a:r>
            <a:endParaRPr lang="x-none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61EA1C4-D1BD-F3B1-AB0A-382DD0B3C4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lvl="1"/>
            <a:r>
              <a:rPr lang="en-US" dirty="0"/>
              <a:t>Fostering enthusiasm in young people about STEM topics at an early stage. </a:t>
            </a:r>
          </a:p>
          <a:p>
            <a:pPr lvl="1"/>
            <a:r>
              <a:rPr lang="en-US" dirty="0"/>
              <a:t>Cooperation with day care centers, schools, vocational schools and universities. </a:t>
            </a:r>
          </a:p>
          <a:p>
            <a:pPr lvl="1"/>
            <a:r>
              <a:rPr lang="en-US" dirty="0"/>
              <a:t>Student laboratories, competitions, lectures, internships, training days in our workshops and labs. </a:t>
            </a:r>
          </a:p>
          <a:p>
            <a:pPr lvl="1"/>
            <a:r>
              <a:rPr lang="en-US" dirty="0"/>
              <a:t>Training opportunities for educators. </a:t>
            </a:r>
          </a:p>
          <a:p>
            <a:pPr lvl="1"/>
            <a:r>
              <a:rPr lang="en-US" dirty="0"/>
              <a:t>Vocational training. Dual track education. </a:t>
            </a:r>
          </a:p>
          <a:p>
            <a:pPr lvl="1"/>
            <a:r>
              <a:rPr lang="en-US" dirty="0"/>
              <a:t>Practical training for industry partners. </a:t>
            </a:r>
          </a:p>
          <a:p>
            <a:pPr lvl="1"/>
            <a:r>
              <a:rPr lang="en-US" dirty="0"/>
              <a:t>Joint professorships. New master courses. </a:t>
            </a:r>
          </a:p>
          <a:p>
            <a:pPr lvl="1"/>
            <a:r>
              <a:rPr lang="en-US" dirty="0"/>
              <a:t>Exchange programs for students and professors from </a:t>
            </a:r>
            <a:br>
              <a:rPr lang="en-US" dirty="0"/>
            </a:br>
            <a:r>
              <a:rPr lang="en-US" dirty="0"/>
              <a:t>all over Germany and worldwide at the DZA.</a:t>
            </a:r>
          </a:p>
          <a:p>
            <a:pPr lvl="1"/>
            <a:endParaRPr lang="de-CH" dirty="0"/>
          </a:p>
          <a:p>
            <a:pPr lvl="8"/>
            <a:r>
              <a:rPr lang="en-GB" b="1" dirty="0">
                <a:solidFill>
                  <a:schemeClr val="accent2"/>
                </a:solidFill>
              </a:rPr>
              <a:t>We convey enthusiasm from an early age on and increase the attractiveness of the region!</a:t>
            </a:r>
            <a:endParaRPr lang="de-CH" b="1" dirty="0">
              <a:solidFill>
                <a:schemeClr val="accent2"/>
              </a:solidFill>
            </a:endParaRPr>
          </a:p>
        </p:txBody>
      </p:sp>
      <p:sp>
        <p:nvSpPr>
          <p:cNvPr id="11" name="Datumsplatzhalter 3">
            <a:extLst>
              <a:ext uri="{FF2B5EF4-FFF2-40B4-BE49-F238E27FC236}">
                <a16:creationId xmlns:a16="http://schemas.microsoft.com/office/drawing/2014/main" id="{8BC8F883-C657-6A4C-6ECF-31B0F51D69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4423CEA2-510A-2103-9790-D98AC6F51E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FB1871-5488-C61B-F5B3-67CFE3E43E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DC25EE-239B-4C5F-AAD1-255A7D5F1EE2}" type="slidenum">
              <a:rPr lang="en-US" smtClean="0"/>
              <a:pPr/>
              <a:t>21</a:t>
            </a:fld>
            <a:endParaRPr lang="en-US"/>
          </a:p>
        </p:txBody>
      </p:sp>
      <p:pic>
        <p:nvPicPr>
          <p:cNvPr id="9" name="Picture 6" descr="A high angle view of a construction site&#10;&#10;Description automatically generated with medium confidence">
            <a:extLst>
              <a:ext uri="{FF2B5EF4-FFF2-40B4-BE49-F238E27FC236}">
                <a16:creationId xmlns:a16="http://schemas.microsoft.com/office/drawing/2014/main" id="{559268B9-7B43-2741-43E5-46B807EBAA6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5" r="155"/>
          <a:stretch/>
        </p:blipFill>
        <p:spPr/>
      </p:pic>
      <p:pic>
        <p:nvPicPr>
          <p:cNvPr id="10" name="Picture 4" descr="A picture containing person, indoor, person&#10;&#10;Description automatically generated">
            <a:extLst>
              <a:ext uri="{FF2B5EF4-FFF2-40B4-BE49-F238E27FC236}">
                <a16:creationId xmlns:a16="http://schemas.microsoft.com/office/drawing/2014/main" id="{4CE7EB95-5962-BE5D-D5BE-5F2670FEE7CF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670" b="8670"/>
          <a:stretch/>
        </p:blipFill>
        <p:spPr/>
      </p:pic>
    </p:spTree>
    <p:extLst>
      <p:ext uri="{BB962C8B-B14F-4D97-AF65-F5344CB8AC3E}">
        <p14:creationId xmlns:p14="http://schemas.microsoft.com/office/powerpoint/2010/main" val="10023801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A group of people in a room&#10;&#10;Description automatically generated">
            <a:extLst>
              <a:ext uri="{FF2B5EF4-FFF2-40B4-BE49-F238E27FC236}">
                <a16:creationId xmlns:a16="http://schemas.microsoft.com/office/drawing/2014/main" id="{97D0B2C0-7748-4413-09D3-498ACB8B215B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3"/>
          <a:srcRect t="90" b="90"/>
          <a:stretch>
            <a:fillRect/>
          </a:stretch>
        </p:blipFill>
        <p:spPr/>
      </p:pic>
      <p:pic>
        <p:nvPicPr>
          <p:cNvPr id="8" name="Picture Placeholder 21" descr="A group of people sitting in chairs&#10;&#10;Description automatically generated with medium confidence">
            <a:extLst>
              <a:ext uri="{FF2B5EF4-FFF2-40B4-BE49-F238E27FC236}">
                <a16:creationId xmlns:a16="http://schemas.microsoft.com/office/drawing/2014/main" id="{A9487AFF-814C-99DB-9879-DD727DA9084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228" r="13228"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13" name="Content Placeholder 10" descr="A group of people on a stage&#10;&#10;Description automatically generated with medium confidence">
            <a:extLst>
              <a:ext uri="{FF2B5EF4-FFF2-40B4-BE49-F238E27FC236}">
                <a16:creationId xmlns:a16="http://schemas.microsoft.com/office/drawing/2014/main" id="{275985A4-BB76-1DFA-2894-0346628B4DE3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3313" b="13313"/>
          <a:stretch/>
        </p:blipFill>
        <p:spPr>
          <a:prstGeom prst="rect">
            <a:avLst/>
          </a:prstGeom>
          <a:pattFill prst="wdUpDiag">
            <a:fgClr>
              <a:schemeClr val="bg2"/>
            </a:fgClr>
            <a:bgClr>
              <a:schemeClr val="bg1"/>
            </a:bgClr>
          </a:pattFill>
        </p:spPr>
      </p:pic>
      <p:pic>
        <p:nvPicPr>
          <p:cNvPr id="25" name="Picture Placeholder 24" descr="A group of people in a room&#10;&#10;Description automatically generated with medium confidence">
            <a:extLst>
              <a:ext uri="{FF2B5EF4-FFF2-40B4-BE49-F238E27FC236}">
                <a16:creationId xmlns:a16="http://schemas.microsoft.com/office/drawing/2014/main" id="{878B5053-371B-9714-B121-C331D760B1B7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24" name="Picture Placeholder 23">
            <a:extLst>
              <a:ext uri="{FF2B5EF4-FFF2-40B4-BE49-F238E27FC236}">
                <a16:creationId xmlns:a16="http://schemas.microsoft.com/office/drawing/2014/main" id="{3D430C03-F35F-BFD2-0E04-F500AC985CBF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856" r="7856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065BFCF3-685D-792C-1CFB-AE7FCB35A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haping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uture</a:t>
            </a:r>
            <a:r>
              <a:rPr lang="de-DE" dirty="0"/>
              <a:t> </a:t>
            </a:r>
            <a:r>
              <a:rPr lang="de-DE" dirty="0" err="1"/>
              <a:t>together</a:t>
            </a:r>
            <a:endParaRPr lang="x-non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A0D7DD-53F6-602D-59A2-382A0CB965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FB37F04-D99E-FFB1-19CE-B19ECE3FE3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93C8B0-6835-09A2-912B-58530B91E6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22</a:t>
            </a:fld>
            <a:endParaRPr lang="de-CH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10D6DCB-D6E4-8596-0CA7-19C2E07241D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DE" dirty="0"/>
              <a:t>KulturFabrik Hoyerswerda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9D8816D-FE40-1722-D8BE-9333AD71094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/>
        <p:txBody>
          <a:bodyPr/>
          <a:lstStyle/>
          <a:p>
            <a:r>
              <a:rPr lang="en-DE" dirty="0"/>
              <a:t>Station W</a:t>
            </a:r>
            <a:r>
              <a:rPr lang="en-GB" dirty="0"/>
              <a:t>e</a:t>
            </a:r>
            <a:r>
              <a:rPr lang="en-DE" dirty="0"/>
              <a:t>ißwasser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8346F9DE-DE5F-6DDD-0000-8BDCAD42BB5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r>
              <a:rPr lang="en-DE" dirty="0"/>
              <a:t>Stadthalle Bautze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0886C92-E186-E089-D2F8-918626734658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en-DE" dirty="0"/>
              <a:t>Kahlbaum Areal Görlitz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427A6CB-A594-035E-ED59-424B2DE57E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en-DE" dirty="0"/>
              <a:t>Synagoge Görlitz</a:t>
            </a:r>
          </a:p>
        </p:txBody>
      </p:sp>
    </p:spTree>
    <p:extLst>
      <p:ext uri="{BB962C8B-B14F-4D97-AF65-F5344CB8AC3E}">
        <p14:creationId xmlns:p14="http://schemas.microsoft.com/office/powerpoint/2010/main" val="421215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A3ED97-37F6-E9F8-3EE6-5E21AACB3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haping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uture</a:t>
            </a:r>
            <a:r>
              <a:rPr lang="de-DE" dirty="0"/>
              <a:t> </a:t>
            </a:r>
            <a:r>
              <a:rPr lang="de-DE" dirty="0" err="1"/>
              <a:t>together</a:t>
            </a:r>
            <a:endParaRPr lang="en-DE" dirty="0"/>
          </a:p>
        </p:txBody>
      </p:sp>
      <p:pic>
        <p:nvPicPr>
          <p:cNvPr id="10" name="Picture Placeholder 9" descr="A picture containing person, person, people&#10;&#10;Description automatically generated">
            <a:extLst>
              <a:ext uri="{FF2B5EF4-FFF2-40B4-BE49-F238E27FC236}">
                <a16:creationId xmlns:a16="http://schemas.microsoft.com/office/drawing/2014/main" id="{09DE0E53-48C7-630D-EFFA-D789439C93B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186AB3-0405-58C6-5A8B-EAA74C6615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DF313F-AB60-ADA0-3CC5-EF7B725A2C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9DA11A-5F57-FAC0-92C7-6EDB087F92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23</a:t>
            </a:fld>
            <a:endParaRPr lang="de-CH"/>
          </a:p>
        </p:txBody>
      </p:sp>
      <p:pic>
        <p:nvPicPr>
          <p:cNvPr id="12" name="Picture Placeholder 11" descr="A group of people sitting at tables&#10;&#10;Description automatically generated with medium confidence">
            <a:extLst>
              <a:ext uri="{FF2B5EF4-FFF2-40B4-BE49-F238E27FC236}">
                <a16:creationId xmlns:a16="http://schemas.microsoft.com/office/drawing/2014/main" id="{C3D535EC-1EDF-12CF-8788-9960ABD513B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4" name="Picture Placeholder 13" descr="A person speaking to a group of people&#10;&#10;Description automatically generated with medium confidence">
            <a:extLst>
              <a:ext uri="{FF2B5EF4-FFF2-40B4-BE49-F238E27FC236}">
                <a16:creationId xmlns:a16="http://schemas.microsoft.com/office/drawing/2014/main" id="{F11881EA-A777-BC05-74C0-D7E3C2439844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30AD894B-9E1C-4004-17AF-F769737B121D}"/>
              </a:ext>
            </a:extLst>
          </p:cNvPr>
          <p:cNvSpPr txBox="1">
            <a:spLocks/>
          </p:cNvSpPr>
          <p:nvPr/>
        </p:nvSpPr>
        <p:spPr>
          <a:xfrm>
            <a:off x="8799443" y="5852964"/>
            <a:ext cx="2673156" cy="324000"/>
          </a:xfrm>
          <a:prstGeom prst="rect">
            <a:avLst/>
          </a:prstGeom>
          <a:solidFill>
            <a:schemeClr val="tx2">
              <a:alpha val="80000"/>
            </a:schemeClr>
          </a:solidFill>
        </p:spPr>
        <p:txBody>
          <a:bodyPr anchor="ctr"/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0" indent="-216000" algn="l" defTabSz="914400" rtl="0" eaLnBrk="1" latinLnBrk="0" hangingPunct="1">
              <a:lnSpc>
                <a:spcPct val="105000"/>
              </a:lnSpc>
              <a:spcBef>
                <a:spcPts val="18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 cap="all" spc="70" baseline="0">
                <a:gradFill>
                  <a:gsLst>
                    <a:gs pos="73441">
                      <a:srgbClr val="006B99"/>
                    </a:gs>
                    <a:gs pos="31900">
                      <a:srgbClr val="00579A"/>
                    </a:gs>
                    <a:gs pos="0">
                      <a:srgbClr val="00499A"/>
                    </a:gs>
                    <a:gs pos="100000">
                      <a:srgbClr val="007B98"/>
                    </a:gs>
                  </a:gsLst>
                  <a:lin ang="0" scaled="0"/>
                </a:gra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DE" sz="1200" dirty="0">
                <a:solidFill>
                  <a:schemeClr val="bg1"/>
                </a:solidFill>
              </a:rPr>
              <a:t>Cunnewitz, Gemeinde Ralbitz-Rosenthal</a:t>
            </a:r>
          </a:p>
        </p:txBody>
      </p:sp>
    </p:spTree>
    <p:extLst>
      <p:ext uri="{BB962C8B-B14F-4D97-AF65-F5344CB8AC3E}">
        <p14:creationId xmlns:p14="http://schemas.microsoft.com/office/powerpoint/2010/main" val="97459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BF9A3F3F-47B5-83CC-0E99-F28B4B5DCB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read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go</a:t>
            </a:r>
            <a:endParaRPr lang="x-none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D14DC4B-ACEF-EAE2-9451-C4EB3DF37D5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i="1" dirty="0"/>
              <a:t>"</a:t>
            </a:r>
            <a:r>
              <a:rPr lang="de-DE" i="1" dirty="0" err="1"/>
              <a:t>Your</a:t>
            </a:r>
            <a:r>
              <a:rPr lang="de-DE" i="1" dirty="0"/>
              <a:t> </a:t>
            </a:r>
            <a:r>
              <a:rPr lang="de-DE" i="1" dirty="0" err="1"/>
              <a:t>concept</a:t>
            </a:r>
            <a:r>
              <a:rPr lang="de-DE" i="1" dirty="0"/>
              <a:t> </a:t>
            </a:r>
            <a:r>
              <a:rPr lang="de-DE" i="1" dirty="0" err="1"/>
              <a:t>proposal</a:t>
            </a:r>
            <a:r>
              <a:rPr lang="de-DE" i="1" dirty="0"/>
              <a:t> </a:t>
            </a:r>
            <a:r>
              <a:rPr lang="de-DE" i="1" dirty="0" err="1"/>
              <a:t>impressively</a:t>
            </a:r>
            <a:r>
              <a:rPr lang="de-DE" i="1" dirty="0"/>
              <a:t> </a:t>
            </a:r>
            <a:r>
              <a:rPr lang="de-DE" i="1" dirty="0" err="1"/>
              <a:t>demonstrates</a:t>
            </a:r>
            <a:r>
              <a:rPr lang="de-DE" i="1" dirty="0"/>
              <a:t> </a:t>
            </a:r>
            <a:r>
              <a:rPr lang="de-DE" i="1" dirty="0" err="1"/>
              <a:t>that</a:t>
            </a:r>
            <a:r>
              <a:rPr lang="de-DE" i="1" dirty="0"/>
              <a:t> </a:t>
            </a:r>
            <a:r>
              <a:rPr lang="de-DE" i="1" dirty="0" err="1"/>
              <a:t>your</a:t>
            </a:r>
            <a:r>
              <a:rPr lang="de-DE" i="1" dirty="0"/>
              <a:t> </a:t>
            </a:r>
            <a:r>
              <a:rPr lang="de-DE" i="1" dirty="0" err="1"/>
              <a:t>proposal</a:t>
            </a:r>
            <a:r>
              <a:rPr lang="de-DE" i="1" dirty="0"/>
              <a:t> </a:t>
            </a:r>
            <a:r>
              <a:rPr lang="de-DE" i="1" dirty="0" err="1"/>
              <a:t>is</a:t>
            </a:r>
            <a:r>
              <a:rPr lang="de-DE" i="1" dirty="0"/>
              <a:t> a </a:t>
            </a:r>
            <a:r>
              <a:rPr lang="de-DE" i="1" dirty="0" err="1"/>
              <a:t>valuable</a:t>
            </a:r>
            <a:r>
              <a:rPr lang="de-DE" i="1" dirty="0"/>
              <a:t> </a:t>
            </a:r>
            <a:r>
              <a:rPr lang="de-DE" i="1" dirty="0" err="1"/>
              <a:t>addition</a:t>
            </a:r>
            <a:r>
              <a:rPr lang="de-DE" i="1" dirty="0"/>
              <a:t> </a:t>
            </a:r>
            <a:r>
              <a:rPr lang="de-DE" i="1" dirty="0" err="1"/>
              <a:t>to</a:t>
            </a:r>
            <a:r>
              <a:rPr lang="de-DE" i="1" dirty="0"/>
              <a:t> </a:t>
            </a:r>
            <a:r>
              <a:rPr lang="de-DE" i="1" dirty="0" err="1"/>
              <a:t>Germany's</a:t>
            </a:r>
            <a:r>
              <a:rPr lang="de-DE" i="1" dirty="0"/>
              <a:t> </a:t>
            </a:r>
            <a:r>
              <a:rPr lang="de-DE" i="1" dirty="0" err="1"/>
              <a:t>scientific</a:t>
            </a:r>
            <a:r>
              <a:rPr lang="de-DE" i="1" dirty="0"/>
              <a:t> </a:t>
            </a:r>
            <a:r>
              <a:rPr lang="de-DE" i="1" dirty="0" err="1"/>
              <a:t>landscape</a:t>
            </a:r>
            <a:r>
              <a:rPr lang="de-DE" i="1" dirty="0"/>
              <a:t>"</a:t>
            </a:r>
          </a:p>
          <a:p>
            <a:pPr algn="r"/>
            <a:r>
              <a:rPr lang="de-DE" i="1" dirty="0"/>
              <a:t>Prof. Otmar </a:t>
            </a:r>
            <a:r>
              <a:rPr lang="de-DE" i="1" dirty="0" err="1"/>
              <a:t>Wiestler</a:t>
            </a:r>
            <a:r>
              <a:rPr lang="de-DE" i="1" dirty="0"/>
              <a:t>, </a:t>
            </a:r>
            <a:r>
              <a:rPr lang="de-DE" i="1" dirty="0" err="1"/>
              <a:t>President</a:t>
            </a:r>
            <a:r>
              <a:rPr lang="de-DE" i="1" dirty="0"/>
              <a:t> </a:t>
            </a:r>
            <a:r>
              <a:rPr lang="de-DE" i="1" dirty="0" err="1"/>
              <a:t>of</a:t>
            </a:r>
            <a:r>
              <a:rPr lang="de-DE" i="1" dirty="0"/>
              <a:t> </a:t>
            </a:r>
            <a:r>
              <a:rPr lang="de-DE" i="1" dirty="0" err="1"/>
              <a:t>the</a:t>
            </a:r>
            <a:r>
              <a:rPr lang="de-DE" i="1" dirty="0"/>
              <a:t> Helmholtz </a:t>
            </a:r>
            <a:r>
              <a:rPr lang="de-DE" i="1" dirty="0" err="1"/>
              <a:t>Association</a:t>
            </a:r>
            <a:endParaRPr lang="x-none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66FE1A-A4D5-2BCA-84C9-CE73C33485A6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1283950" y="6589713"/>
            <a:ext cx="908050" cy="134937"/>
          </a:xfrm>
        </p:spPr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F26305-1FF3-8B62-3E2E-EAA013B3370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589713"/>
            <a:ext cx="4337050" cy="134937"/>
          </a:xfrm>
        </p:spPr>
        <p:txBody>
          <a:bodyPr/>
          <a:lstStyle/>
          <a:p>
            <a:r>
              <a:rPr lang="de-CH"/>
              <a:t>Helmholtz MU-Day</a:t>
            </a:r>
            <a:endParaRPr lang="de-CH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39FFD6B-414C-80C6-2964-0872B8B1068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589713"/>
            <a:ext cx="749300" cy="134937"/>
          </a:xfrm>
        </p:spPr>
        <p:txBody>
          <a:bodyPr/>
          <a:lstStyle/>
          <a:p>
            <a:fld id="{2B7F7AFC-335A-4E1E-8346-4C0D714D39C6}" type="slidenum">
              <a:rPr lang="de-CH" smtClean="0"/>
              <a:t>2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85231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>
            <a:extLst>
              <a:ext uri="{FF2B5EF4-FFF2-40B4-BE49-F238E27FC236}">
                <a16:creationId xmlns:a16="http://schemas.microsoft.com/office/drawing/2014/main" id="{DBBE8CAB-2BEB-2371-C6BA-D63F4C74C6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0" imgH="409" progId="TCLayout.ActiveDocument.1">
                  <p:embed/>
                </p:oleObj>
              </mc:Choice>
              <mc:Fallback>
                <p:oleObj name="think-cell Folie" r:id="rId4" imgW="410" imgH="409" progId="TCLayout.ActiveDocument.1">
                  <p:embed/>
                  <p:pic>
                    <p:nvPicPr>
                      <p:cNvPr id="22" name="Objekt 21" hidden="1">
                        <a:extLst>
                          <a:ext uri="{FF2B5EF4-FFF2-40B4-BE49-F238E27FC236}">
                            <a16:creationId xmlns:a16="http://schemas.microsoft.com/office/drawing/2014/main" id="{DBBE8CAB-2BEB-2371-C6BA-D63F4C74C6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54A27CA-3630-1846-E91F-1820C13004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DZA Timeline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5633A492-E2FC-044D-35B4-29AE2575E8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7F7AFC-335A-4E1E-8346-4C0D714D39C6}" type="slidenum">
              <a:rPr kumimoji="0" lang="de-CH" sz="1200" b="1" i="0" u="none" strike="noStrike" kern="1200" cap="none" spc="0" normalizeH="0" baseline="0" noProof="0" smtClean="0">
                <a:ln>
                  <a:noFill/>
                </a:ln>
                <a:solidFill>
                  <a:srgbClr val="004A9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de-CH" sz="1200" b="1" i="0" u="none" strike="noStrike" kern="1200" cap="none" spc="0" normalizeH="0" baseline="0" noProof="0">
              <a:ln>
                <a:noFill/>
              </a:ln>
              <a:solidFill>
                <a:srgbClr val="004A9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B34E8656-DCDD-816C-8F5A-6095C19B51D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9399" y="1588655"/>
            <a:ext cx="5016601" cy="4864099"/>
          </a:xfrm>
        </p:spPr>
        <p:txBody>
          <a:bodyPr/>
          <a:lstStyle/>
          <a:p>
            <a:pPr marL="0" marR="0" lvl="7" indent="0" algn="l" defTabSz="914400" rtl="0" eaLnBrk="1" fontAlgn="auto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800" b="1" i="0" u="none" strike="noStrike" kern="1200" cap="all" spc="70" normalizeH="0" baseline="0" noProof="0" dirty="0">
                <a:ln>
                  <a:noFill/>
                </a:ln>
                <a:gradFill>
                  <a:gsLst>
                    <a:gs pos="73441">
                      <a:srgbClr val="006B99"/>
                    </a:gs>
                    <a:gs pos="31900">
                      <a:srgbClr val="00579A"/>
                    </a:gs>
                    <a:gs pos="0">
                      <a:srgbClr val="00499A"/>
                    </a:gs>
                    <a:gs pos="100000">
                      <a:srgbClr val="007B98"/>
                    </a:gs>
                  </a:gsLst>
                  <a:lin ang="0" scaled="0"/>
                </a:gradFill>
                <a:effectLst/>
                <a:uLnTx/>
                <a:uFillTx/>
                <a:latin typeface="Calibri"/>
                <a:ea typeface="+mn-ea"/>
                <a:cs typeface="+mn-cs"/>
              </a:rPr>
              <a:t>In Project </a:t>
            </a:r>
            <a:r>
              <a:rPr kumimoji="0" lang="de-DE" sz="1800" b="1" i="0" u="none" strike="noStrike" kern="1200" cap="all" spc="70" normalizeH="0" baseline="0" noProof="0" dirty="0" err="1">
                <a:ln>
                  <a:noFill/>
                </a:ln>
                <a:gradFill>
                  <a:gsLst>
                    <a:gs pos="73441">
                      <a:srgbClr val="006B99"/>
                    </a:gs>
                    <a:gs pos="31900">
                      <a:srgbClr val="00579A"/>
                    </a:gs>
                    <a:gs pos="0">
                      <a:srgbClr val="00499A"/>
                    </a:gs>
                    <a:gs pos="100000">
                      <a:srgbClr val="007B98"/>
                    </a:gs>
                  </a:gsLst>
                  <a:lin ang="0" scaled="0"/>
                </a:gradFill>
                <a:effectLst/>
                <a:uLnTx/>
                <a:uFillTx/>
                <a:latin typeface="Calibri"/>
                <a:ea typeface="+mn-ea"/>
                <a:cs typeface="+mn-cs"/>
              </a:rPr>
              <a:t>phaSE</a:t>
            </a:r>
            <a:r>
              <a:rPr kumimoji="0" lang="de-DE" sz="1800" b="1" i="0" u="none" strike="noStrike" kern="1200" cap="all" spc="70" normalizeH="0" baseline="0" noProof="0" dirty="0">
                <a:ln>
                  <a:noFill/>
                </a:ln>
                <a:gradFill>
                  <a:gsLst>
                    <a:gs pos="73441">
                      <a:srgbClr val="006B99"/>
                    </a:gs>
                    <a:gs pos="31900">
                      <a:srgbClr val="00579A"/>
                    </a:gs>
                    <a:gs pos="0">
                      <a:srgbClr val="00499A"/>
                    </a:gs>
                    <a:gs pos="100000">
                      <a:srgbClr val="007B98"/>
                    </a:gs>
                  </a:gsLst>
                  <a:lin ang="0" scaled="0"/>
                </a:gradFill>
                <a:effectLst/>
                <a:uLnTx/>
                <a:uFillTx/>
                <a:latin typeface="Calibri"/>
                <a:ea typeface="+mn-ea"/>
                <a:cs typeface="+mn-cs"/>
              </a:rPr>
              <a:t> (2023-2026):</a:t>
            </a:r>
          </a:p>
          <a:p>
            <a:r>
              <a:rPr lang="de-DE" dirty="0"/>
              <a:t>„</a:t>
            </a: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little</a:t>
            </a:r>
            <a:r>
              <a:rPr lang="de-DE" dirty="0"/>
              <a:t>“ </a:t>
            </a:r>
            <a:r>
              <a:rPr lang="de-DE" dirty="0" err="1"/>
              <a:t>money</a:t>
            </a:r>
            <a:r>
              <a:rPr lang="de-DE" dirty="0"/>
              <a:t> </a:t>
            </a:r>
            <a:r>
              <a:rPr lang="de-DE" dirty="0" err="1"/>
              <a:t>flowing</a:t>
            </a:r>
            <a:r>
              <a:rPr lang="de-DE" dirty="0"/>
              <a:t> in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three</a:t>
            </a:r>
            <a:r>
              <a:rPr lang="de-DE" dirty="0"/>
              <a:t> </a:t>
            </a:r>
            <a:r>
              <a:rPr lang="de-DE" dirty="0" err="1"/>
              <a:t>years</a:t>
            </a:r>
            <a:endParaRPr lang="de-DE" dirty="0"/>
          </a:p>
          <a:p>
            <a:r>
              <a:rPr lang="de-DE" dirty="0"/>
              <a:t>RIGHT NOW: Further </a:t>
            </a:r>
            <a:r>
              <a:rPr lang="de-DE" dirty="0" err="1"/>
              <a:t>test</a:t>
            </a:r>
            <a:r>
              <a:rPr lang="de-DE" dirty="0"/>
              <a:t> </a:t>
            </a:r>
            <a:r>
              <a:rPr lang="de-DE" dirty="0" err="1"/>
              <a:t>drills</a:t>
            </a:r>
            <a:r>
              <a:rPr lang="de-DE" dirty="0"/>
              <a:t> and </a:t>
            </a:r>
            <a:r>
              <a:rPr lang="de-DE" dirty="0" err="1"/>
              <a:t>geological</a:t>
            </a:r>
            <a:r>
              <a:rPr lang="de-DE" dirty="0"/>
              <a:t> / </a:t>
            </a:r>
            <a:r>
              <a:rPr lang="de-DE" dirty="0" err="1"/>
              <a:t>seismic</a:t>
            </a:r>
            <a:r>
              <a:rPr lang="de-DE" dirty="0"/>
              <a:t> </a:t>
            </a:r>
            <a:r>
              <a:rPr lang="de-DE" dirty="0" err="1"/>
              <a:t>investigation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determine</a:t>
            </a:r>
            <a:r>
              <a:rPr lang="de-DE" dirty="0"/>
              <a:t> </a:t>
            </a:r>
            <a:r>
              <a:rPr lang="de-DE" dirty="0" err="1"/>
              <a:t>suitability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granit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LSL &amp; ET</a:t>
            </a:r>
          </a:p>
          <a:p>
            <a:pPr marL="285750" indent="-285750">
              <a:buFont typeface="Symbol" pitchFamily="2" charset="2"/>
              <a:buChar char="Þ"/>
            </a:pP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good</a:t>
            </a:r>
            <a:r>
              <a:rPr lang="de-DE" dirty="0"/>
              <a:t>, </a:t>
            </a:r>
            <a:r>
              <a:rPr lang="de-DE" dirty="0" err="1"/>
              <a:t>then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bi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ET </a:t>
            </a:r>
            <a:r>
              <a:rPr lang="de-DE" dirty="0" err="1"/>
              <a:t>site</a:t>
            </a:r>
            <a:endParaRPr lang="de-DE" dirty="0"/>
          </a:p>
          <a:p>
            <a:pPr marL="285750" indent="-285750">
              <a:buFont typeface="Symbol" pitchFamily="2" charset="2"/>
              <a:buChar char="Þ"/>
            </a:pPr>
            <a:r>
              <a:rPr lang="de-DE" dirty="0" err="1"/>
              <a:t>If</a:t>
            </a:r>
            <a:r>
              <a:rPr lang="de-DE" dirty="0"/>
              <a:t> not (but </a:t>
            </a:r>
            <a:r>
              <a:rPr lang="de-DE" dirty="0" err="1"/>
              <a:t>good</a:t>
            </a:r>
            <a:r>
              <a:rPr lang="de-DE" dirty="0"/>
              <a:t> </a:t>
            </a:r>
            <a:r>
              <a:rPr lang="de-DE" dirty="0" err="1"/>
              <a:t>enough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LSL): Low </a:t>
            </a:r>
            <a:r>
              <a:rPr lang="de-DE" dirty="0" err="1"/>
              <a:t>Seismic</a:t>
            </a:r>
            <a:r>
              <a:rPr lang="de-DE" dirty="0"/>
              <a:t> Lab </a:t>
            </a:r>
            <a:r>
              <a:rPr lang="de-DE" dirty="0" err="1"/>
              <a:t>for</a:t>
            </a:r>
            <a:r>
              <a:rPr lang="de-DE" dirty="0"/>
              <a:t> diverse (GW and also EM </a:t>
            </a:r>
            <a:r>
              <a:rPr lang="de-DE" dirty="0" err="1"/>
              <a:t>astronomy</a:t>
            </a:r>
            <a:r>
              <a:rPr lang="de-DE" dirty="0"/>
              <a:t> </a:t>
            </a:r>
            <a:r>
              <a:rPr lang="de-DE" dirty="0" err="1"/>
              <a:t>related</a:t>
            </a:r>
            <a:r>
              <a:rPr lang="de-DE" dirty="0"/>
              <a:t>) </a:t>
            </a:r>
            <a:r>
              <a:rPr lang="de-DE" dirty="0" err="1"/>
              <a:t>research</a:t>
            </a:r>
            <a:endParaRPr lang="de-DE" dirty="0"/>
          </a:p>
          <a:p>
            <a:r>
              <a:rPr lang="de-DE" i="1" dirty="0" err="1"/>
              <a:t>first</a:t>
            </a:r>
            <a:r>
              <a:rPr lang="de-DE" i="1" dirty="0"/>
              <a:t> </a:t>
            </a:r>
            <a:r>
              <a:rPr lang="de-DE" i="1" dirty="0" err="1"/>
              <a:t>hires</a:t>
            </a:r>
            <a:r>
              <a:rPr lang="de-DE" i="1" dirty="0"/>
              <a:t> (5 </a:t>
            </a:r>
            <a:r>
              <a:rPr lang="de-DE" i="1" dirty="0" err="1"/>
              <a:t>profs</a:t>
            </a:r>
            <a:r>
              <a:rPr lang="de-DE" i="1" dirty="0"/>
              <a:t>, 60 </a:t>
            </a:r>
            <a:r>
              <a:rPr lang="de-DE" i="1" dirty="0" err="1"/>
              <a:t>staff</a:t>
            </a:r>
            <a:r>
              <a:rPr lang="de-DE" i="1" dirty="0"/>
              <a:t> and support) + </a:t>
            </a:r>
            <a:r>
              <a:rPr lang="de-DE" i="1" dirty="0" err="1"/>
              <a:t>make</a:t>
            </a:r>
            <a:r>
              <a:rPr lang="de-DE" i="1" dirty="0"/>
              <a:t> all </a:t>
            </a:r>
            <a:r>
              <a:rPr lang="de-DE" i="1" dirty="0" err="1"/>
              <a:t>plans</a:t>
            </a:r>
            <a:r>
              <a:rPr lang="de-DE" i="1" dirty="0"/>
              <a:t> </a:t>
            </a:r>
            <a:r>
              <a:rPr lang="de-DE" i="1" dirty="0" err="1"/>
              <a:t>for</a:t>
            </a:r>
            <a:r>
              <a:rPr lang="de-DE" i="1" dirty="0"/>
              <a:t>:</a:t>
            </a:r>
            <a:br>
              <a:rPr lang="de-DE" i="1" dirty="0"/>
            </a:br>
            <a:endParaRPr lang="de-DE" sz="800" i="1" dirty="0"/>
          </a:p>
          <a:p>
            <a:pPr marL="0" marR="0" lvl="7" indent="0" algn="l" defTabSz="914400" rtl="0" eaLnBrk="1" fontAlgn="auto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800" b="1" i="0" u="none" strike="noStrike" kern="1200" cap="all" spc="70" normalizeH="0" baseline="0" noProof="0" dirty="0">
                <a:ln>
                  <a:noFill/>
                </a:ln>
                <a:gradFill>
                  <a:gsLst>
                    <a:gs pos="73441">
                      <a:srgbClr val="006B99"/>
                    </a:gs>
                    <a:gs pos="31900">
                      <a:srgbClr val="00579A"/>
                    </a:gs>
                    <a:gs pos="0">
                      <a:srgbClr val="00499A"/>
                    </a:gs>
                    <a:gs pos="100000">
                      <a:srgbClr val="007B98"/>
                    </a:gs>
                  </a:gsLst>
                  <a:lin ang="0" scaled="0"/>
                </a:gradFill>
                <a:effectLst/>
                <a:uLnTx/>
                <a:uFillTx/>
                <a:latin typeface="Calibri"/>
                <a:ea typeface="+mn-ea"/>
                <a:cs typeface="+mn-cs"/>
              </a:rPr>
              <a:t>In "</a:t>
            </a:r>
            <a:r>
              <a:rPr kumimoji="0" lang="de-DE" sz="1800" b="1" i="0" u="none" strike="noStrike" kern="1200" cap="all" spc="70" normalizeH="0" baseline="0" noProof="0" dirty="0" err="1">
                <a:ln>
                  <a:noFill/>
                </a:ln>
                <a:gradFill>
                  <a:gsLst>
                    <a:gs pos="73441">
                      <a:srgbClr val="006B99"/>
                    </a:gs>
                    <a:gs pos="31900">
                      <a:srgbClr val="00579A"/>
                    </a:gs>
                    <a:gs pos="0">
                      <a:srgbClr val="00499A"/>
                    </a:gs>
                    <a:gs pos="100000">
                      <a:srgbClr val="007B98"/>
                    </a:gs>
                  </a:gsLst>
                  <a:lin ang="0" scaled="0"/>
                </a:gradFill>
                <a:effectLst/>
                <a:uLnTx/>
                <a:uFillTx/>
                <a:latin typeface="Calibri"/>
                <a:ea typeface="+mn-ea"/>
                <a:cs typeface="+mn-cs"/>
              </a:rPr>
              <a:t>full</a:t>
            </a:r>
            <a:r>
              <a:rPr kumimoji="0" lang="de-DE" sz="1800" b="1" i="0" u="none" strike="noStrike" kern="1200" cap="all" spc="70" normalizeH="0" baseline="0" noProof="0" dirty="0">
                <a:ln>
                  <a:noFill/>
                </a:ln>
                <a:gradFill>
                  <a:gsLst>
                    <a:gs pos="73441">
                      <a:srgbClr val="006B99"/>
                    </a:gs>
                    <a:gs pos="31900">
                      <a:srgbClr val="00579A"/>
                    </a:gs>
                    <a:gs pos="0">
                      <a:srgbClr val="00499A"/>
                    </a:gs>
                    <a:gs pos="100000">
                      <a:srgbClr val="007B98"/>
                    </a:gs>
                  </a:gsLst>
                  <a:lin ang="0" scaled="0"/>
                </a:gra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de-DE" sz="1800" b="1" i="0" u="none" strike="noStrike" kern="1200" cap="all" spc="70" normalizeH="0" baseline="0" noProof="0" dirty="0" err="1">
                <a:ln>
                  <a:noFill/>
                </a:ln>
                <a:gradFill>
                  <a:gsLst>
                    <a:gs pos="73441">
                      <a:srgbClr val="006B99"/>
                    </a:gs>
                    <a:gs pos="31900">
                      <a:srgbClr val="00579A"/>
                    </a:gs>
                    <a:gs pos="0">
                      <a:srgbClr val="00499A"/>
                    </a:gs>
                    <a:gs pos="100000">
                      <a:srgbClr val="007B98"/>
                    </a:gs>
                  </a:gsLst>
                  <a:lin ang="0" scaled="0"/>
                </a:gradFill>
                <a:effectLst/>
                <a:uLnTx/>
                <a:uFillTx/>
                <a:latin typeface="Calibri"/>
                <a:ea typeface="+mn-ea"/>
                <a:cs typeface="+mn-cs"/>
              </a:rPr>
              <a:t>funding</a:t>
            </a:r>
            <a:r>
              <a:rPr kumimoji="0" lang="de-DE" sz="1800" b="1" i="0" u="none" strike="noStrike" kern="1200" cap="all" spc="70" normalizeH="0" baseline="0" noProof="0" dirty="0">
                <a:ln>
                  <a:noFill/>
                </a:ln>
                <a:gradFill>
                  <a:gsLst>
                    <a:gs pos="73441">
                      <a:srgbClr val="006B99"/>
                    </a:gs>
                    <a:gs pos="31900">
                      <a:srgbClr val="00579A"/>
                    </a:gs>
                    <a:gs pos="0">
                      <a:srgbClr val="00499A"/>
                    </a:gs>
                    <a:gs pos="100000">
                      <a:srgbClr val="007B98"/>
                    </a:gs>
                  </a:gsLst>
                  <a:lin ang="0" scaled="0"/>
                </a:gradFill>
                <a:effectLst/>
                <a:uLnTx/>
                <a:uFillTx/>
                <a:latin typeface="Calibri"/>
                <a:ea typeface="+mn-ea"/>
                <a:cs typeface="+mn-cs"/>
              </a:rPr>
              <a:t>“ </a:t>
            </a:r>
            <a:r>
              <a:rPr kumimoji="0" lang="de-DE" sz="1800" b="1" i="0" u="none" strike="noStrike" kern="1200" cap="all" spc="70" normalizeH="0" baseline="0" noProof="0" dirty="0" err="1">
                <a:ln>
                  <a:noFill/>
                </a:ln>
                <a:gradFill>
                  <a:gsLst>
                    <a:gs pos="73441">
                      <a:srgbClr val="006B99"/>
                    </a:gs>
                    <a:gs pos="31900">
                      <a:srgbClr val="00579A"/>
                    </a:gs>
                    <a:gs pos="0">
                      <a:srgbClr val="00499A"/>
                    </a:gs>
                    <a:gs pos="100000">
                      <a:srgbClr val="007B98"/>
                    </a:gs>
                  </a:gsLst>
                  <a:lin ang="0" scaled="0"/>
                </a:gradFill>
                <a:effectLst/>
                <a:uLnTx/>
                <a:uFillTx/>
                <a:latin typeface="Calibri"/>
                <a:ea typeface="+mn-ea"/>
                <a:cs typeface="+mn-cs"/>
              </a:rPr>
              <a:t>phase</a:t>
            </a:r>
            <a:r>
              <a:rPr lang="de-DE" dirty="0">
                <a:latin typeface="Calibri"/>
              </a:rPr>
              <a:t> (2026 </a:t>
            </a:r>
            <a:r>
              <a:rPr lang="de-DE" dirty="0" err="1">
                <a:latin typeface="Calibri"/>
              </a:rPr>
              <a:t>ongoing</a:t>
            </a:r>
            <a:r>
              <a:rPr lang="de-DE" dirty="0">
                <a:latin typeface="Calibri"/>
              </a:rPr>
              <a:t>)</a:t>
            </a:r>
            <a:r>
              <a:rPr kumimoji="0" lang="de-DE" sz="1800" b="1" i="0" u="none" strike="noStrike" kern="1200" cap="all" spc="70" normalizeH="0" baseline="0" noProof="0" dirty="0">
                <a:ln>
                  <a:noFill/>
                </a:ln>
                <a:gradFill>
                  <a:gsLst>
                    <a:gs pos="73441">
                      <a:srgbClr val="006B99"/>
                    </a:gs>
                    <a:gs pos="31900">
                      <a:srgbClr val="00579A"/>
                    </a:gs>
                    <a:gs pos="0">
                      <a:srgbClr val="00499A"/>
                    </a:gs>
                    <a:gs pos="100000">
                      <a:srgbClr val="007B98"/>
                    </a:gs>
                  </a:gsLst>
                  <a:lin ang="0" scaled="0"/>
                </a:gradFill>
                <a:effectLst/>
                <a:uLnTx/>
                <a:uFillTx/>
                <a:latin typeface="Calibri"/>
                <a:ea typeface="+mn-ea"/>
                <a:cs typeface="+mn-cs"/>
              </a:rPr>
              <a:t>:</a:t>
            </a:r>
          </a:p>
          <a:p>
            <a:r>
              <a:rPr lang="de-DE" dirty="0"/>
              <a:t>Buildings and </a:t>
            </a:r>
            <a:r>
              <a:rPr lang="de-DE" dirty="0" err="1"/>
              <a:t>underground</a:t>
            </a:r>
            <a:r>
              <a:rPr lang="de-DE" dirty="0"/>
              <a:t> lab </a:t>
            </a:r>
            <a:r>
              <a:rPr lang="de-DE" dirty="0" err="1"/>
              <a:t>construction</a:t>
            </a:r>
            <a:r>
              <a:rPr lang="de-DE" dirty="0"/>
              <a:t>, </a:t>
            </a:r>
            <a:r>
              <a:rPr lang="de-DE" dirty="0" err="1"/>
              <a:t>full</a:t>
            </a:r>
            <a:r>
              <a:rPr lang="de-DE" dirty="0"/>
              <a:t> </a:t>
            </a:r>
            <a:r>
              <a:rPr lang="de-DE" dirty="0" err="1"/>
              <a:t>ramp-up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personnel</a:t>
            </a:r>
            <a:r>
              <a:rPr lang="de-DE" dirty="0"/>
              <a:t> and </a:t>
            </a:r>
            <a:r>
              <a:rPr lang="de-DE" dirty="0" err="1"/>
              <a:t>research</a:t>
            </a:r>
            <a:r>
              <a:rPr lang="de-DE" dirty="0"/>
              <a:t> &amp; </a:t>
            </a:r>
            <a:r>
              <a:rPr lang="de-DE" dirty="0" err="1"/>
              <a:t>science</a:t>
            </a:r>
            <a:br>
              <a:rPr lang="de-DE" dirty="0"/>
            </a:br>
            <a:endParaRPr lang="de-DE" sz="800" dirty="0"/>
          </a:p>
          <a:p>
            <a:pPr lvl="7"/>
            <a:r>
              <a:rPr lang="de-DE" dirty="0"/>
              <a:t>In </a:t>
            </a:r>
            <a:r>
              <a:rPr lang="de-DE" dirty="0" err="1"/>
              <a:t>any</a:t>
            </a:r>
            <a:r>
              <a:rPr lang="de-DE" dirty="0"/>
              <a:t> </a:t>
            </a:r>
            <a:r>
              <a:rPr lang="de-DE" dirty="0" err="1"/>
              <a:t>case</a:t>
            </a:r>
            <a:r>
              <a:rPr lang="de-DE" dirty="0"/>
              <a:t>:</a:t>
            </a:r>
          </a:p>
          <a:p>
            <a:pPr lvl="1"/>
            <a:r>
              <a:rPr lang="de-DE" dirty="0"/>
              <a:t>DZA will </a:t>
            </a:r>
            <a:r>
              <a:rPr lang="de-DE" dirty="0" err="1"/>
              <a:t>conduct</a:t>
            </a:r>
            <a:r>
              <a:rPr lang="de-DE" dirty="0"/>
              <a:t> </a:t>
            </a:r>
            <a:r>
              <a:rPr lang="de-DE" dirty="0" err="1"/>
              <a:t>technology</a:t>
            </a:r>
            <a:r>
              <a:rPr lang="de-DE" dirty="0"/>
              <a:t> </a:t>
            </a:r>
            <a:r>
              <a:rPr lang="de-DE" dirty="0" err="1"/>
              <a:t>development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gravitational</a:t>
            </a:r>
            <a:r>
              <a:rPr lang="de-DE" dirty="0"/>
              <a:t> </a:t>
            </a:r>
            <a:r>
              <a:rPr lang="de-DE" dirty="0" err="1"/>
              <a:t>wave</a:t>
            </a:r>
            <a:r>
              <a:rPr lang="de-DE" dirty="0"/>
              <a:t> </a:t>
            </a:r>
            <a:r>
              <a:rPr lang="de-DE" dirty="0" err="1"/>
              <a:t>astronomy</a:t>
            </a:r>
            <a:r>
              <a:rPr lang="de-DE" dirty="0"/>
              <a:t> and in </a:t>
            </a:r>
            <a:r>
              <a:rPr lang="de-DE" dirty="0" err="1"/>
              <a:t>particular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ET</a:t>
            </a:r>
          </a:p>
          <a:p>
            <a:endParaRPr lang="de-DE" dirty="0"/>
          </a:p>
          <a:p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01DB9A0-834F-86B4-A029-44009E750E7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6000" y="1818767"/>
            <a:ext cx="6096000" cy="2835180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9B0AFCB6-3224-2E34-0B37-329F3F322CF9}"/>
              </a:ext>
            </a:extLst>
          </p:cNvPr>
          <p:cNvSpPr txBox="1"/>
          <p:nvPr/>
        </p:nvSpPr>
        <p:spPr>
          <a:xfrm>
            <a:off x="6207557" y="784060"/>
            <a:ext cx="262283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rom</a:t>
            </a: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DZA </a:t>
            </a:r>
            <a:r>
              <a:rPr kumimoji="0" lang="de-DE" sz="24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proposal</a:t>
            </a: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: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03684DE3-033D-1485-1356-BCD0CC3E9939}"/>
              </a:ext>
            </a:extLst>
          </p:cNvPr>
          <p:cNvSpPr txBox="1"/>
          <p:nvPr/>
        </p:nvSpPr>
        <p:spPr>
          <a:xfrm>
            <a:off x="6207557" y="1324388"/>
            <a:ext cx="32112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or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project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</a:t>
            </a:r>
            <a:r>
              <a:rPr kumimoji="0" lang="de-DE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phase</a:t>
            </a: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(2023 – 2026):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08C0E9E-AB00-56E9-9155-674ACA1395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4ACFF1-F300-C62B-B59A-0BE464F667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516541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>
                <a:solidFill>
                  <a:schemeClr val="accent1"/>
                </a:solidFill>
              </a:rPr>
              <a:t>We are ready to start: </a:t>
            </a:r>
            <a:r>
              <a:rPr lang="en-GB" dirty="0">
                <a:solidFill>
                  <a:schemeClr val="accent1"/>
                </a:solidFill>
              </a:rPr>
              <a:t>2023 start of the given three-year build-up phase. Foundation of the DZA in 2026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719400" y="1588656"/>
            <a:ext cx="7053000" cy="4588308"/>
          </a:xfrm>
        </p:spPr>
        <p:txBody>
          <a:bodyPr>
            <a:normAutofit fontScale="92500" lnSpcReduction="20000"/>
          </a:bodyPr>
          <a:lstStyle/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sz="2000" dirty="0"/>
              <a:t>National </a:t>
            </a:r>
            <a:r>
              <a:rPr lang="de-DE" sz="2000" dirty="0" err="1"/>
              <a:t>beacon</a:t>
            </a:r>
            <a:r>
              <a:rPr lang="de-DE" sz="2000" dirty="0"/>
              <a:t> </a:t>
            </a:r>
            <a:r>
              <a:rPr lang="de-DE" sz="2000" dirty="0" err="1"/>
              <a:t>with</a:t>
            </a:r>
            <a:r>
              <a:rPr lang="de-DE" sz="2000" dirty="0"/>
              <a:t> international </a:t>
            </a:r>
            <a:r>
              <a:rPr lang="de-DE" sz="2000" dirty="0" err="1"/>
              <a:t>visibility</a:t>
            </a:r>
            <a:r>
              <a:rPr lang="de-DE" sz="2000" dirty="0"/>
              <a:t>.</a:t>
            </a:r>
          </a:p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sz="2000" b="1" dirty="0"/>
              <a:t>Unique </a:t>
            </a:r>
            <a:r>
              <a:rPr lang="de-DE" sz="2000" b="1" dirty="0" err="1"/>
              <a:t>combination</a:t>
            </a:r>
            <a:r>
              <a:rPr lang="de-DE" sz="2000" b="1" dirty="0"/>
              <a:t> </a:t>
            </a:r>
            <a:r>
              <a:rPr lang="de-DE" sz="2000" b="1" dirty="0" err="1"/>
              <a:t>of</a:t>
            </a:r>
            <a:r>
              <a:rPr lang="de-DE" sz="2000" b="1" dirty="0"/>
              <a:t> </a:t>
            </a:r>
            <a:r>
              <a:rPr lang="de-DE" sz="2000" b="1" dirty="0" err="1"/>
              <a:t>research</a:t>
            </a:r>
            <a:r>
              <a:rPr lang="de-DE" sz="2000" b="1" dirty="0"/>
              <a:t> and </a:t>
            </a:r>
            <a:r>
              <a:rPr lang="de-DE" sz="2000" b="1" dirty="0" err="1"/>
              <a:t>development</a:t>
            </a:r>
            <a:r>
              <a:rPr lang="de-DE" sz="2000" b="1" dirty="0"/>
              <a:t> in </a:t>
            </a:r>
            <a:r>
              <a:rPr lang="de-DE" sz="2000" b="1" dirty="0" err="1"/>
              <a:t>digitalisation</a:t>
            </a:r>
            <a:r>
              <a:rPr lang="de-DE" sz="2000" b="1" dirty="0"/>
              <a:t>, </a:t>
            </a:r>
            <a:r>
              <a:rPr lang="de-DE" sz="2000" b="1" dirty="0" err="1"/>
              <a:t>sensor</a:t>
            </a:r>
            <a:r>
              <a:rPr lang="de-DE" sz="2000" b="1" dirty="0"/>
              <a:t> </a:t>
            </a:r>
            <a:r>
              <a:rPr lang="de-DE" sz="2000" b="1" dirty="0" err="1"/>
              <a:t>technology</a:t>
            </a:r>
            <a:r>
              <a:rPr lang="de-DE" sz="2000" b="1" dirty="0"/>
              <a:t> and </a:t>
            </a:r>
            <a:r>
              <a:rPr lang="de-DE" sz="2000" b="1" dirty="0" err="1"/>
              <a:t>materials</a:t>
            </a:r>
            <a:r>
              <a:rPr lang="de-DE" sz="2000" b="1" dirty="0"/>
              <a:t> </a:t>
            </a:r>
            <a:r>
              <a:rPr lang="de-DE" sz="2000" b="1" dirty="0" err="1"/>
              <a:t>research</a:t>
            </a:r>
            <a:r>
              <a:rPr lang="de-DE" sz="2000" b="1" dirty="0"/>
              <a:t>.</a:t>
            </a:r>
          </a:p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sz="2000" dirty="0"/>
              <a:t>Jobs </a:t>
            </a:r>
            <a:r>
              <a:rPr lang="de-DE" sz="2000" dirty="0" err="1"/>
              <a:t>with</a:t>
            </a:r>
            <a:r>
              <a:rPr lang="de-DE" sz="2000" dirty="0"/>
              <a:t> a </a:t>
            </a:r>
            <a:r>
              <a:rPr lang="de-DE" sz="2000" dirty="0" err="1"/>
              <a:t>future</a:t>
            </a:r>
            <a:r>
              <a:rPr lang="de-DE" sz="2000" dirty="0"/>
              <a:t> in </a:t>
            </a:r>
            <a:r>
              <a:rPr lang="de-DE" sz="2000" dirty="0" err="1"/>
              <a:t>many</a:t>
            </a:r>
            <a:r>
              <a:rPr lang="de-DE" sz="2000" dirty="0"/>
              <a:t> </a:t>
            </a:r>
            <a:r>
              <a:rPr lang="de-DE" sz="2000" dirty="0" err="1"/>
              <a:t>areas</a:t>
            </a:r>
            <a:r>
              <a:rPr lang="de-DE" sz="2000" dirty="0"/>
              <a:t>.</a:t>
            </a:r>
          </a:p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sz="2000" dirty="0"/>
              <a:t>Magnet </a:t>
            </a:r>
            <a:r>
              <a:rPr lang="de-DE" sz="2000" dirty="0" err="1"/>
              <a:t>for</a:t>
            </a:r>
            <a:r>
              <a:rPr lang="de-DE" sz="2000" dirty="0"/>
              <a:t> </a:t>
            </a:r>
            <a:r>
              <a:rPr lang="de-DE" sz="2000" dirty="0" err="1"/>
              <a:t>business</a:t>
            </a:r>
            <a:r>
              <a:rPr lang="de-DE" sz="2000" dirty="0"/>
              <a:t> and </a:t>
            </a:r>
            <a:r>
              <a:rPr lang="de-DE" sz="2000" dirty="0" err="1"/>
              <a:t>institutions</a:t>
            </a:r>
            <a:r>
              <a:rPr lang="de-DE" sz="2000" dirty="0"/>
              <a:t>, support </a:t>
            </a:r>
            <a:r>
              <a:rPr lang="de-DE" sz="2000" dirty="0" err="1"/>
              <a:t>for</a:t>
            </a:r>
            <a:r>
              <a:rPr lang="de-DE" sz="2000" dirty="0"/>
              <a:t> </a:t>
            </a:r>
            <a:r>
              <a:rPr lang="de-DE" sz="2000" dirty="0" err="1"/>
              <a:t>start-ups</a:t>
            </a:r>
            <a:r>
              <a:rPr lang="de-DE" sz="2000" dirty="0"/>
              <a:t> and </a:t>
            </a:r>
            <a:r>
              <a:rPr lang="de-DE" sz="2000" dirty="0" err="1"/>
              <a:t>spin</a:t>
            </a:r>
            <a:r>
              <a:rPr lang="de-DE" sz="2000" dirty="0"/>
              <a:t>-offs, </a:t>
            </a:r>
            <a:r>
              <a:rPr lang="de-DE" sz="2000" dirty="0" err="1"/>
              <a:t>transfer</a:t>
            </a:r>
            <a:r>
              <a:rPr lang="de-DE" sz="2000" dirty="0"/>
              <a:t> </a:t>
            </a:r>
            <a:r>
              <a:rPr lang="de-DE" sz="2000" dirty="0" err="1"/>
              <a:t>of</a:t>
            </a:r>
            <a:r>
              <a:rPr lang="de-DE" sz="2000" dirty="0"/>
              <a:t> </a:t>
            </a:r>
            <a:r>
              <a:rPr lang="de-DE" sz="2000" dirty="0" err="1"/>
              <a:t>knowledge</a:t>
            </a:r>
            <a:r>
              <a:rPr lang="de-DE" sz="2000" dirty="0"/>
              <a:t>.  </a:t>
            </a:r>
          </a:p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sz="2000" dirty="0"/>
              <a:t>Education </a:t>
            </a:r>
            <a:r>
              <a:rPr lang="de-DE" sz="2000" dirty="0" err="1"/>
              <a:t>from</a:t>
            </a:r>
            <a:r>
              <a:rPr lang="de-DE" sz="2000" dirty="0"/>
              <a:t> </a:t>
            </a:r>
            <a:r>
              <a:rPr lang="de-DE" sz="2000" dirty="0" err="1"/>
              <a:t>kindergarten</a:t>
            </a:r>
            <a:r>
              <a:rPr lang="de-DE" sz="2000" dirty="0"/>
              <a:t> </a:t>
            </a:r>
            <a:r>
              <a:rPr lang="de-DE" sz="2000" dirty="0" err="1"/>
              <a:t>to</a:t>
            </a:r>
            <a:r>
              <a:rPr lang="de-DE" sz="2000" dirty="0"/>
              <a:t> </a:t>
            </a:r>
            <a:r>
              <a:rPr lang="de-DE" sz="2000" dirty="0" err="1"/>
              <a:t>training</a:t>
            </a:r>
            <a:r>
              <a:rPr lang="de-DE" sz="2000" dirty="0"/>
              <a:t> and </a:t>
            </a:r>
            <a:r>
              <a:rPr lang="de-DE" sz="2000" dirty="0" err="1"/>
              <a:t>university</a:t>
            </a:r>
            <a:r>
              <a:rPr lang="de-DE" sz="2000" dirty="0"/>
              <a:t>.  </a:t>
            </a:r>
          </a:p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sz="2000" b="1" dirty="0" err="1"/>
              <a:t>Prospects</a:t>
            </a:r>
            <a:r>
              <a:rPr lang="de-DE" sz="2000" b="1" dirty="0"/>
              <a:t> </a:t>
            </a:r>
            <a:r>
              <a:rPr lang="de-DE" sz="2000" b="1" dirty="0" err="1"/>
              <a:t>for</a:t>
            </a:r>
            <a:r>
              <a:rPr lang="de-DE" sz="2000" b="1" dirty="0"/>
              <a:t> </a:t>
            </a:r>
            <a:r>
              <a:rPr lang="de-DE" sz="2000" b="1" dirty="0" err="1"/>
              <a:t>young</a:t>
            </a:r>
            <a:r>
              <a:rPr lang="de-DE" sz="2000" b="1" dirty="0"/>
              <a:t> </a:t>
            </a:r>
            <a:r>
              <a:rPr lang="de-DE" sz="2000" b="1" dirty="0" err="1"/>
              <a:t>people</a:t>
            </a:r>
            <a:r>
              <a:rPr lang="de-DE" sz="2000" b="1" dirty="0"/>
              <a:t> in </a:t>
            </a:r>
            <a:r>
              <a:rPr lang="de-DE" sz="2000" b="1" dirty="0" err="1"/>
              <a:t>the</a:t>
            </a:r>
            <a:r>
              <a:rPr lang="de-DE" sz="2000" b="1" dirty="0"/>
              <a:t> </a:t>
            </a:r>
            <a:r>
              <a:rPr lang="de-DE" sz="2000" b="1" dirty="0" err="1"/>
              <a:t>region</a:t>
            </a:r>
            <a:r>
              <a:rPr lang="de-DE" sz="2000" dirty="0"/>
              <a:t>, </a:t>
            </a:r>
            <a:r>
              <a:rPr lang="de-DE" sz="2000" dirty="0" err="1"/>
              <a:t>securing</a:t>
            </a:r>
            <a:r>
              <a:rPr lang="de-DE" sz="2000" dirty="0"/>
              <a:t> </a:t>
            </a:r>
            <a:r>
              <a:rPr lang="de-DE" sz="2000" dirty="0" err="1"/>
              <a:t>the</a:t>
            </a:r>
            <a:r>
              <a:rPr lang="de-DE" sz="2000" dirty="0"/>
              <a:t> </a:t>
            </a:r>
            <a:r>
              <a:rPr lang="de-DE" sz="2000" dirty="0" err="1"/>
              <a:t>need</a:t>
            </a:r>
            <a:r>
              <a:rPr lang="de-DE" sz="2000" dirty="0"/>
              <a:t> </a:t>
            </a:r>
            <a:r>
              <a:rPr lang="de-DE" sz="2000" dirty="0" err="1"/>
              <a:t>for</a:t>
            </a:r>
            <a:r>
              <a:rPr lang="de-DE" sz="2000" dirty="0"/>
              <a:t> </a:t>
            </a:r>
            <a:r>
              <a:rPr lang="de-DE" sz="2000" dirty="0" err="1"/>
              <a:t>skilled</a:t>
            </a:r>
            <a:r>
              <a:rPr lang="de-DE" sz="2000" dirty="0"/>
              <a:t> </a:t>
            </a:r>
            <a:r>
              <a:rPr lang="de-DE" sz="2000" dirty="0" err="1"/>
              <a:t>workers</a:t>
            </a:r>
            <a:r>
              <a:rPr lang="de-DE" sz="2000" dirty="0"/>
              <a:t>. </a:t>
            </a:r>
          </a:p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sz="2000" dirty="0" err="1"/>
              <a:t>We</a:t>
            </a:r>
            <a:r>
              <a:rPr lang="de-DE" sz="2000" dirty="0"/>
              <a:t> </a:t>
            </a:r>
            <a:r>
              <a:rPr lang="de-DE" sz="2000" dirty="0" err="1"/>
              <a:t>attract</a:t>
            </a:r>
            <a:r>
              <a:rPr lang="de-DE" sz="2000" dirty="0"/>
              <a:t> </a:t>
            </a:r>
            <a:r>
              <a:rPr lang="de-DE" sz="2000" dirty="0" err="1"/>
              <a:t>people</a:t>
            </a:r>
            <a:r>
              <a:rPr lang="de-DE" sz="2000" dirty="0"/>
              <a:t> and </a:t>
            </a:r>
            <a:r>
              <a:rPr lang="de-DE" sz="2000" dirty="0" err="1"/>
              <a:t>prevent</a:t>
            </a:r>
            <a:r>
              <a:rPr lang="de-DE" sz="2000" dirty="0"/>
              <a:t> </a:t>
            </a:r>
            <a:r>
              <a:rPr lang="de-DE" sz="2000" dirty="0" err="1"/>
              <a:t>migration</a:t>
            </a:r>
            <a:r>
              <a:rPr lang="de-DE" sz="2000" dirty="0"/>
              <a:t>.</a:t>
            </a:r>
          </a:p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de-DE" sz="2000" i="1" dirty="0">
                <a:solidFill>
                  <a:schemeClr val="tx2"/>
                </a:solidFill>
              </a:rPr>
              <a:t>"This </a:t>
            </a:r>
            <a:r>
              <a:rPr lang="de-DE" sz="2000" i="1" dirty="0" err="1">
                <a:solidFill>
                  <a:schemeClr val="tx2"/>
                </a:solidFill>
              </a:rPr>
              <a:t>competition</a:t>
            </a:r>
            <a:r>
              <a:rPr lang="de-DE" sz="2000" i="1" dirty="0">
                <a:solidFill>
                  <a:schemeClr val="tx2"/>
                </a:solidFill>
              </a:rPr>
              <a:t> </a:t>
            </a:r>
            <a:r>
              <a:rPr lang="de-DE" sz="2000" i="1" dirty="0" err="1">
                <a:solidFill>
                  <a:schemeClr val="tx2"/>
                </a:solidFill>
              </a:rPr>
              <a:t>opened</a:t>
            </a:r>
            <a:r>
              <a:rPr lang="de-DE" sz="2000" i="1" dirty="0">
                <a:solidFill>
                  <a:schemeClr val="tx2"/>
                </a:solidFill>
              </a:rPr>
              <a:t> </a:t>
            </a:r>
            <a:r>
              <a:rPr lang="de-DE" sz="2000" i="1" dirty="0" err="1">
                <a:solidFill>
                  <a:schemeClr val="tx2"/>
                </a:solidFill>
              </a:rPr>
              <a:t>up</a:t>
            </a:r>
            <a:r>
              <a:rPr lang="de-DE" sz="2000" i="1" dirty="0">
                <a:solidFill>
                  <a:schemeClr val="tx2"/>
                </a:solidFill>
              </a:rPr>
              <a:t> </a:t>
            </a:r>
            <a:r>
              <a:rPr lang="de-DE" sz="2000" i="1" dirty="0" err="1">
                <a:solidFill>
                  <a:schemeClr val="tx2"/>
                </a:solidFill>
              </a:rPr>
              <a:t>new</a:t>
            </a:r>
            <a:r>
              <a:rPr lang="de-DE" sz="2000" i="1" dirty="0">
                <a:solidFill>
                  <a:schemeClr val="tx2"/>
                </a:solidFill>
              </a:rPr>
              <a:t> </a:t>
            </a:r>
            <a:r>
              <a:rPr lang="de-DE" sz="2000" i="1" dirty="0" err="1">
                <a:solidFill>
                  <a:schemeClr val="tx2"/>
                </a:solidFill>
              </a:rPr>
              <a:t>perspectives</a:t>
            </a:r>
            <a:r>
              <a:rPr lang="de-DE" sz="2000" i="1" dirty="0">
                <a:solidFill>
                  <a:schemeClr val="tx2"/>
                </a:solidFill>
              </a:rPr>
              <a:t>, </a:t>
            </a:r>
            <a:r>
              <a:rPr lang="de-DE" sz="2000" i="1" dirty="0" err="1">
                <a:solidFill>
                  <a:schemeClr val="tx2"/>
                </a:solidFill>
              </a:rPr>
              <a:t>for</a:t>
            </a:r>
            <a:r>
              <a:rPr lang="de-DE" sz="2000" i="1" dirty="0">
                <a:solidFill>
                  <a:schemeClr val="tx2"/>
                </a:solidFill>
              </a:rPr>
              <a:t> </a:t>
            </a:r>
            <a:r>
              <a:rPr lang="de-DE" sz="2000" i="1" dirty="0" err="1">
                <a:solidFill>
                  <a:schemeClr val="tx2"/>
                </a:solidFill>
              </a:rPr>
              <a:t>the</a:t>
            </a:r>
            <a:r>
              <a:rPr lang="de-DE" sz="2000" i="1" dirty="0">
                <a:solidFill>
                  <a:schemeClr val="tx2"/>
                </a:solidFill>
              </a:rPr>
              <a:t> </a:t>
            </a:r>
            <a:r>
              <a:rPr lang="de-DE" sz="2000" i="1" dirty="0" err="1">
                <a:solidFill>
                  <a:schemeClr val="tx2"/>
                </a:solidFill>
              </a:rPr>
              <a:t>regions</a:t>
            </a:r>
            <a:r>
              <a:rPr lang="de-DE" sz="2000" i="1" dirty="0">
                <a:solidFill>
                  <a:schemeClr val="tx2"/>
                </a:solidFill>
              </a:rPr>
              <a:t> in </a:t>
            </a:r>
            <a:r>
              <a:rPr lang="de-DE" sz="2000" i="1" dirty="0" err="1">
                <a:solidFill>
                  <a:schemeClr val="tx2"/>
                </a:solidFill>
              </a:rPr>
              <a:t>Saxony</a:t>
            </a:r>
            <a:r>
              <a:rPr lang="de-DE" sz="2000" i="1" dirty="0">
                <a:solidFill>
                  <a:schemeClr val="tx2"/>
                </a:solidFill>
              </a:rPr>
              <a:t> and </a:t>
            </a:r>
            <a:r>
              <a:rPr lang="de-DE" sz="2000" i="1" dirty="0" err="1">
                <a:solidFill>
                  <a:schemeClr val="tx2"/>
                </a:solidFill>
              </a:rPr>
              <a:t>for</a:t>
            </a:r>
            <a:r>
              <a:rPr lang="de-DE" sz="2000" i="1" dirty="0">
                <a:solidFill>
                  <a:schemeClr val="tx2"/>
                </a:solidFill>
              </a:rPr>
              <a:t> </a:t>
            </a:r>
            <a:r>
              <a:rPr lang="de-DE" sz="2000" i="1" dirty="0" err="1">
                <a:solidFill>
                  <a:schemeClr val="tx2"/>
                </a:solidFill>
              </a:rPr>
              <a:t>our</a:t>
            </a:r>
            <a:r>
              <a:rPr lang="de-DE" sz="2000" i="1" dirty="0">
                <a:solidFill>
                  <a:schemeClr val="tx2"/>
                </a:solidFill>
              </a:rPr>
              <a:t> </a:t>
            </a:r>
            <a:r>
              <a:rPr lang="de-DE" sz="2000" i="1" dirty="0" err="1">
                <a:solidFill>
                  <a:schemeClr val="tx2"/>
                </a:solidFill>
              </a:rPr>
              <a:t>society</a:t>
            </a:r>
            <a:r>
              <a:rPr lang="de-DE" sz="2000" i="1" dirty="0">
                <a:solidFill>
                  <a:schemeClr val="tx2"/>
                </a:solidFill>
              </a:rPr>
              <a:t> - an </a:t>
            </a:r>
            <a:r>
              <a:rPr lang="de-DE" sz="2000" i="1" dirty="0" err="1">
                <a:solidFill>
                  <a:schemeClr val="tx2"/>
                </a:solidFill>
              </a:rPr>
              <a:t>important</a:t>
            </a:r>
            <a:r>
              <a:rPr lang="de-DE" sz="2000" i="1" dirty="0">
                <a:solidFill>
                  <a:schemeClr val="tx2"/>
                </a:solidFill>
              </a:rPr>
              <a:t> </a:t>
            </a:r>
            <a:r>
              <a:rPr lang="de-DE" sz="2000" i="1" dirty="0" err="1">
                <a:solidFill>
                  <a:schemeClr val="tx2"/>
                </a:solidFill>
              </a:rPr>
              <a:t>sign</a:t>
            </a:r>
            <a:r>
              <a:rPr lang="de-DE" sz="2000" i="1" dirty="0">
                <a:solidFill>
                  <a:schemeClr val="tx2"/>
                </a:solidFill>
              </a:rPr>
              <a:t> </a:t>
            </a:r>
            <a:r>
              <a:rPr lang="de-DE" sz="2000" i="1" dirty="0" err="1">
                <a:solidFill>
                  <a:schemeClr val="tx2"/>
                </a:solidFill>
              </a:rPr>
              <a:t>for</a:t>
            </a:r>
            <a:r>
              <a:rPr lang="de-DE" sz="2000" i="1" dirty="0">
                <a:solidFill>
                  <a:schemeClr val="tx2"/>
                </a:solidFill>
              </a:rPr>
              <a:t> </a:t>
            </a:r>
            <a:r>
              <a:rPr lang="de-DE" sz="2000" i="1" dirty="0" err="1">
                <a:solidFill>
                  <a:schemeClr val="tx2"/>
                </a:solidFill>
              </a:rPr>
              <a:t>the</a:t>
            </a:r>
            <a:r>
              <a:rPr lang="de-DE" sz="2000" i="1" dirty="0">
                <a:solidFill>
                  <a:schemeClr val="tx2"/>
                </a:solidFill>
              </a:rPr>
              <a:t> </a:t>
            </a:r>
            <a:r>
              <a:rPr lang="de-DE" sz="2000" i="1" dirty="0" err="1">
                <a:solidFill>
                  <a:schemeClr val="tx2"/>
                </a:solidFill>
              </a:rPr>
              <a:t>future</a:t>
            </a:r>
            <a:r>
              <a:rPr lang="de-DE" sz="2000" i="1" dirty="0">
                <a:solidFill>
                  <a:schemeClr val="tx2"/>
                </a:solidFill>
              </a:rPr>
              <a:t> in a </a:t>
            </a:r>
            <a:r>
              <a:rPr lang="de-DE" sz="2000" i="1" dirty="0" err="1">
                <a:solidFill>
                  <a:schemeClr val="tx2"/>
                </a:solidFill>
              </a:rPr>
              <a:t>difficult</a:t>
            </a:r>
            <a:r>
              <a:rPr lang="de-DE" sz="2000" i="1" dirty="0">
                <a:solidFill>
                  <a:schemeClr val="tx2"/>
                </a:solidFill>
              </a:rPr>
              <a:t> time."</a:t>
            </a:r>
            <a:r>
              <a:rPr lang="de-DE" sz="2000" dirty="0"/>
              <a:t> Günther </a:t>
            </a:r>
            <a:r>
              <a:rPr lang="de-DE" sz="2000" dirty="0" err="1"/>
              <a:t>Hasinger</a:t>
            </a:r>
            <a:endParaRPr lang="de-DE" sz="2000" dirty="0"/>
          </a:p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de-DE" sz="2000" dirty="0"/>
          </a:p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de-DE" sz="200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5C1C7E-CE35-8718-D4AD-C953216ABA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9C43D3-0B2D-9320-C311-A020A4A14D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1F44D1-8FB7-B3ED-0A43-7EAB285187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26</a:t>
            </a:fld>
            <a:endParaRPr lang="de-CH"/>
          </a:p>
        </p:txBody>
      </p:sp>
      <p:pic>
        <p:nvPicPr>
          <p:cNvPr id="8" name="Picture 7" descr="A picture containing text, indoor, electronics&#10;&#10;Description automatically generated">
            <a:extLst>
              <a:ext uri="{FF2B5EF4-FFF2-40B4-BE49-F238E27FC236}">
                <a16:creationId xmlns:a16="http://schemas.microsoft.com/office/drawing/2014/main" id="{42BD9B6C-F98F-1A30-2C4C-96CEBB6D12D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1135"/>
          <a:stretch/>
        </p:blipFill>
        <p:spPr>
          <a:xfrm rot="5400000">
            <a:off x="7384604" y="2125189"/>
            <a:ext cx="4588308" cy="3058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049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BD890D-AE02-ECCB-53BA-B259E6F32F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Marica Branchesi “Gravitational Wave Astronomy”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91ACFF-9A58-0D46-6CC2-5A7FB944E1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9400" y="1423556"/>
            <a:ext cx="10753200" cy="4588308"/>
          </a:xfrm>
        </p:spPr>
        <p:txBody>
          <a:bodyPr/>
          <a:lstStyle/>
          <a:p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F35FA7-57B4-F0D0-2980-3AC0001759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>
                <a:ln>
                  <a:noFill/>
                </a:ln>
                <a:solidFill>
                  <a:srgbClr val="004A9A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21.10.2022</a:t>
            </a:r>
            <a:endParaRPr kumimoji="0" lang="de-CH" sz="1000" b="0" i="0" u="none" strike="noStrike" kern="1200" cap="none" spc="0" normalizeH="0" baseline="0" noProof="0">
              <a:ln>
                <a:noFill/>
              </a:ln>
              <a:solidFill>
                <a:srgbClr val="004A9A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E1669F-B672-E930-D823-20AA1315C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1200" cap="none" spc="0" normalizeH="0" baseline="0" noProof="0">
                <a:ln>
                  <a:noFill/>
                </a:ln>
                <a:solidFill>
                  <a:srgbClr val="004A9A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Helmholtz MU-Da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5A68CA-4FBE-90DD-4ACF-8A07814C9F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B7F7AFC-335A-4E1E-8346-4C0D714D39C6}" type="slidenum">
              <a:rPr kumimoji="0" lang="de-CH" sz="1200" b="1" i="0" u="none" strike="noStrike" kern="1200" cap="none" spc="0" normalizeH="0" baseline="0" noProof="0" smtClean="0">
                <a:ln>
                  <a:noFill/>
                </a:ln>
                <a:solidFill>
                  <a:srgbClr val="004A9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de-CH" sz="1200" b="1" i="0" u="none" strike="noStrike" kern="1200" cap="none" spc="0" normalizeH="0" baseline="0" noProof="0">
              <a:ln>
                <a:noFill/>
              </a:ln>
              <a:solidFill>
                <a:srgbClr val="004A9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7" name="Immagine 2" descr="Schermata 2018-08-26 alle 15.56.41.png">
            <a:extLst>
              <a:ext uri="{FF2B5EF4-FFF2-40B4-BE49-F238E27FC236}">
                <a16:creationId xmlns:a16="http://schemas.microsoft.com/office/drawing/2014/main" id="{3CCBA56B-CBAD-7D3F-C27B-E26AD9C2715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8562" y="1423556"/>
            <a:ext cx="4314038" cy="4113644"/>
          </a:xfrm>
          <a:prstGeom prst="rect">
            <a:avLst/>
          </a:prstGeom>
        </p:spPr>
      </p:pic>
      <p:pic>
        <p:nvPicPr>
          <p:cNvPr id="8" name="Immagine 1" descr="Schermata 2017-12-13 alle 16.11.42.png">
            <a:extLst>
              <a:ext uri="{FF2B5EF4-FFF2-40B4-BE49-F238E27FC236}">
                <a16:creationId xmlns:a16="http://schemas.microsoft.com/office/drawing/2014/main" id="{798F8200-A5FD-29E6-F601-4E961CE5D3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399" y="1427350"/>
            <a:ext cx="6174687" cy="4333788"/>
          </a:xfrm>
          <a:prstGeom prst="rect">
            <a:avLst/>
          </a:prstGeom>
        </p:spPr>
      </p:pic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338D94A5-1ADA-6D6C-689A-DDF929CA6DEF}"/>
              </a:ext>
            </a:extLst>
          </p:cNvPr>
          <p:cNvSpPr txBox="1">
            <a:spLocks/>
          </p:cNvSpPr>
          <p:nvPr/>
        </p:nvSpPr>
        <p:spPr>
          <a:xfrm>
            <a:off x="7158561" y="5442846"/>
            <a:ext cx="4314040" cy="600532"/>
          </a:xfrm>
          <a:prstGeom prst="rect">
            <a:avLst/>
          </a:prstGeom>
          <a:solidFill>
            <a:srgbClr val="004899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0" indent="-216000" algn="l" defTabSz="914400" rtl="0" eaLnBrk="1" latinLnBrk="0" hangingPunct="1">
              <a:lnSpc>
                <a:spcPct val="105000"/>
              </a:lnSpc>
              <a:spcBef>
                <a:spcPts val="18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 cap="all" spc="70" baseline="0">
                <a:gradFill>
                  <a:gsLst>
                    <a:gs pos="73441">
                      <a:srgbClr val="006B99"/>
                    </a:gs>
                    <a:gs pos="31900">
                      <a:srgbClr val="00579A"/>
                    </a:gs>
                    <a:gs pos="0">
                      <a:srgbClr val="00499A"/>
                    </a:gs>
                    <a:gs pos="100000">
                      <a:srgbClr val="007B98"/>
                    </a:gs>
                  </a:gsLst>
                  <a:lin ang="0" scaled="0"/>
                </a:gra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rgbClr val="004A9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ature’s 10 people who mattered this year</a:t>
            </a:r>
            <a:endParaRPr lang="en-DE" b="1" dirty="0">
              <a:solidFill>
                <a:prstClr val="white"/>
              </a:solidFill>
              <a:latin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>
                <a:srgbClr val="004A9A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D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IME 100 most influential peop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6EEFDEF-3537-986F-10F5-2E1397BD9800}"/>
              </a:ext>
            </a:extLst>
          </p:cNvPr>
          <p:cNvSpPr txBox="1"/>
          <p:nvPr/>
        </p:nvSpPr>
        <p:spPr>
          <a:xfrm>
            <a:off x="719398" y="5442846"/>
            <a:ext cx="6174686" cy="584775"/>
          </a:xfrm>
          <a:prstGeom prst="rect">
            <a:avLst/>
          </a:prstGeom>
          <a:solidFill>
            <a:srgbClr val="004A9A"/>
          </a:solidFill>
        </p:spPr>
        <p:txBody>
          <a:bodyPr wrap="square">
            <a:spAutoFit/>
          </a:bodyPr>
          <a:lstStyle/>
          <a:p>
            <a:r>
              <a:rPr lang="en-GB" sz="1600" b="1" dirty="0">
                <a:solidFill>
                  <a:schemeClr val="bg1"/>
                </a:solidFill>
                <a:latin typeface="+mj-lt"/>
              </a:rPr>
              <a:t>16. October 2017, announcement of the neutron star merger GW170817 </a:t>
            </a:r>
            <a:endParaRPr lang="en-DE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6CF6F3E-9EA7-5C37-E19C-F220E067B647}"/>
              </a:ext>
            </a:extLst>
          </p:cNvPr>
          <p:cNvSpPr txBox="1"/>
          <p:nvPr/>
        </p:nvSpPr>
        <p:spPr>
          <a:xfrm>
            <a:off x="622300" y="5799238"/>
            <a:ext cx="1094538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br>
              <a:rPr lang="en-GB" b="0" i="0" u="none" strike="noStrike" dirty="0">
                <a:solidFill>
                  <a:srgbClr val="0099CC"/>
                </a:solidFill>
                <a:effectLst/>
                <a:latin typeface="Roboto" panose="020F0502020204030204" pitchFamily="34" charset="0"/>
                <a:hlinkClick r:id="rId4"/>
              </a:rPr>
            </a:br>
            <a:r>
              <a:rPr lang="en-GB" dirty="0"/>
              <a:t>Please switch to </a:t>
            </a:r>
            <a:r>
              <a:rPr lang="en-GB" b="0" i="0" u="none" strike="noStrike" dirty="0">
                <a:solidFill>
                  <a:srgbClr val="0099CC"/>
                </a:solidFill>
                <a:effectLst/>
                <a:hlinkClick r:id="rId4"/>
              </a:rPr>
              <a:t>https://desy.zoom.us/j/68514595879?pwd=ZUhYVWhvU09ZUnhkMHF1Y0FmWmZOQT09</a:t>
            </a:r>
            <a:endParaRPr lang="en-GB" b="0" i="0" u="none" strike="noStrike" dirty="0">
              <a:solidFill>
                <a:srgbClr val="777777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578302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EBC56C32-E212-0D68-61CD-14EF2FBD25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29. September 2022 12:45 Uhr (CEST)</a:t>
            </a:r>
          </a:p>
        </p:txBody>
      </p:sp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51913166-D624-6FE1-DEB4-5130A459F0A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t="1496" b="1496"/>
          <a:stretch>
            <a:fillRect/>
          </a:stretch>
        </p:blipFill>
        <p:spPr>
          <a:xfrm>
            <a:off x="752451" y="1588654"/>
            <a:ext cx="7108799" cy="4588310"/>
          </a:xfr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97B054-F96A-2300-479E-C08F075418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6C4310-8D13-6D9E-A02D-B06DF88763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4110A6-967C-9D76-2E68-5B5E4A3F5A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3</a:t>
            </a:fld>
            <a:endParaRPr lang="de-CH"/>
          </a:p>
        </p:txBody>
      </p:sp>
      <p:pic>
        <p:nvPicPr>
          <p:cNvPr id="14" name="Picture Placeholder 13" descr="A person talking on a cell phone&#10;&#10;Description automatically generated with medium confidence">
            <a:extLst>
              <a:ext uri="{FF2B5EF4-FFF2-40B4-BE49-F238E27FC236}">
                <a16:creationId xmlns:a16="http://schemas.microsoft.com/office/drawing/2014/main" id="{E5CF8144-0604-0EB4-69BC-B83D7B29B5C1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3"/>
          <a:srcRect l="26218" r="26218"/>
          <a:stretch>
            <a:fillRect/>
          </a:stretch>
        </p:blipFill>
        <p:spPr/>
      </p:pic>
      <p:sp>
        <p:nvSpPr>
          <p:cNvPr id="15" name="Textplatzhalter 33">
            <a:extLst>
              <a:ext uri="{FF2B5EF4-FFF2-40B4-BE49-F238E27FC236}">
                <a16:creationId xmlns:a16="http://schemas.microsoft.com/office/drawing/2014/main" id="{5012A029-3422-848F-BBED-609A19978558}"/>
              </a:ext>
            </a:extLst>
          </p:cNvPr>
          <p:cNvSpPr txBox="1">
            <a:spLocks/>
          </p:cNvSpPr>
          <p:nvPr/>
        </p:nvSpPr>
        <p:spPr>
          <a:xfrm>
            <a:off x="752451" y="5852964"/>
            <a:ext cx="4883239" cy="324000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0" indent="-216000" algn="l" defTabSz="914400" rtl="0" eaLnBrk="1" latinLnBrk="0" hangingPunct="1">
              <a:lnSpc>
                <a:spcPct val="105000"/>
              </a:lnSpc>
              <a:spcBef>
                <a:spcPts val="18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 cap="all" spc="70" baseline="0">
                <a:gradFill>
                  <a:gsLst>
                    <a:gs pos="73441">
                      <a:srgbClr val="006B99"/>
                    </a:gs>
                    <a:gs pos="31900">
                      <a:srgbClr val="00579A"/>
                    </a:gs>
                    <a:gs pos="0">
                      <a:srgbClr val="00499A"/>
                    </a:gs>
                    <a:gs pos="100000">
                      <a:srgbClr val="007B98"/>
                    </a:gs>
                  </a:gsLst>
                  <a:lin ang="0" scaled="0"/>
                </a:gra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de-DE" sz="1200" dirty="0">
                <a:solidFill>
                  <a:schemeClr val="bg1"/>
                </a:solidFill>
              </a:rPr>
              <a:t>Günther </a:t>
            </a:r>
            <a:r>
              <a:rPr lang="de-DE" sz="1200" dirty="0" err="1">
                <a:solidFill>
                  <a:schemeClr val="bg1"/>
                </a:solidFill>
              </a:rPr>
              <a:t>Hasinger</a:t>
            </a:r>
            <a:r>
              <a:rPr lang="de-DE" sz="1200" dirty="0">
                <a:solidFill>
                  <a:schemeClr val="bg1"/>
                </a:solidFill>
              </a:rPr>
              <a:t>, </a:t>
            </a:r>
            <a:r>
              <a:rPr lang="de-DE" sz="1200" dirty="0" err="1">
                <a:solidFill>
                  <a:schemeClr val="bg1"/>
                </a:solidFill>
              </a:rPr>
              <a:t>designated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founding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director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of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the</a:t>
            </a:r>
            <a:r>
              <a:rPr lang="de-DE" sz="1200" dirty="0">
                <a:solidFill>
                  <a:schemeClr val="bg1"/>
                </a:solidFill>
              </a:rPr>
              <a:t> DZA, in Görlitz</a:t>
            </a:r>
          </a:p>
        </p:txBody>
      </p:sp>
      <p:sp>
        <p:nvSpPr>
          <p:cNvPr id="16" name="Textplatzhalter 33">
            <a:extLst>
              <a:ext uri="{FF2B5EF4-FFF2-40B4-BE49-F238E27FC236}">
                <a16:creationId xmlns:a16="http://schemas.microsoft.com/office/drawing/2014/main" id="{CC1AD00D-D427-F759-3EE1-E6E5ED910C1A}"/>
              </a:ext>
            </a:extLst>
          </p:cNvPr>
          <p:cNvSpPr txBox="1">
            <a:spLocks/>
          </p:cNvSpPr>
          <p:nvPr/>
        </p:nvSpPr>
        <p:spPr>
          <a:xfrm>
            <a:off x="8008201" y="5852964"/>
            <a:ext cx="3464399" cy="324000"/>
          </a:xfrm>
          <a:prstGeom prst="rect">
            <a:avLst/>
          </a:prstGeom>
          <a:solidFill>
            <a:schemeClr val="accent1"/>
          </a:solidFill>
        </p:spPr>
        <p:txBody>
          <a:bodyPr/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0" indent="-216000" algn="l" defTabSz="914400" rtl="0" eaLnBrk="1" latinLnBrk="0" hangingPunct="1">
              <a:lnSpc>
                <a:spcPct val="105000"/>
              </a:lnSpc>
              <a:spcBef>
                <a:spcPts val="18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800" b="1" kern="1200" cap="all" spc="70" baseline="0">
                <a:gradFill>
                  <a:gsLst>
                    <a:gs pos="73441">
                      <a:srgbClr val="006B99"/>
                    </a:gs>
                    <a:gs pos="31900">
                      <a:srgbClr val="00579A"/>
                    </a:gs>
                    <a:gs pos="0">
                      <a:srgbClr val="00499A"/>
                    </a:gs>
                    <a:gs pos="100000">
                      <a:srgbClr val="007B98"/>
                    </a:gs>
                  </a:gsLst>
                  <a:lin ang="0" scaled="0"/>
                </a:gra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de-DE" sz="1200" dirty="0">
                <a:solidFill>
                  <a:schemeClr val="bg1"/>
                </a:solidFill>
              </a:rPr>
              <a:t>CS in Cunnewitz , Gemeinde Ralbitz-Rosenthal</a:t>
            </a:r>
          </a:p>
        </p:txBody>
      </p:sp>
    </p:spTree>
    <p:extLst>
      <p:ext uri="{BB962C8B-B14F-4D97-AF65-F5344CB8AC3E}">
        <p14:creationId xmlns:p14="http://schemas.microsoft.com/office/powerpoint/2010/main" val="32450976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0AFFAC6E-8144-8E59-AA23-1770E6F823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ho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re</a:t>
            </a:r>
            <a:endParaRPr lang="x-none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A43570C-A9B5-4FE9-40BF-B8C9C35C20E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The DZA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b="1" dirty="0" err="1"/>
              <a:t>joint</a:t>
            </a:r>
            <a:r>
              <a:rPr lang="de-DE" b="1" dirty="0"/>
              <a:t> initiative </a:t>
            </a:r>
            <a:r>
              <a:rPr lang="de-DE" b="1" dirty="0" err="1"/>
              <a:t>of</a:t>
            </a:r>
            <a:r>
              <a:rPr lang="de-DE" b="1" dirty="0"/>
              <a:t> German </a:t>
            </a:r>
            <a:r>
              <a:rPr lang="de-DE" b="1" dirty="0" err="1"/>
              <a:t>astronomy</a:t>
            </a:r>
            <a:r>
              <a:rPr lang="de-DE" b="1" dirty="0"/>
              <a:t> and </a:t>
            </a:r>
            <a:r>
              <a:rPr lang="de-DE" b="1" dirty="0" err="1"/>
              <a:t>astroparticle</a:t>
            </a:r>
            <a:r>
              <a:rPr lang="de-DE" b="1" dirty="0"/>
              <a:t> </a:t>
            </a:r>
            <a:r>
              <a:rPr lang="de-DE" b="1" dirty="0" err="1"/>
              <a:t>physic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dea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reating</a:t>
            </a:r>
            <a:r>
              <a:rPr lang="de-DE" dirty="0"/>
              <a:t> a national and also international hub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astrophysics</a:t>
            </a:r>
            <a:r>
              <a:rPr lang="de-DE" dirty="0"/>
              <a:t>. The </a:t>
            </a:r>
            <a:r>
              <a:rPr lang="de-DE" dirty="0" err="1"/>
              <a:t>idea</a:t>
            </a:r>
            <a:r>
              <a:rPr lang="de-DE" dirty="0"/>
              <a:t> was </a:t>
            </a:r>
            <a:r>
              <a:rPr lang="de-DE" dirty="0" err="1"/>
              <a:t>born</a:t>
            </a:r>
            <a:r>
              <a:rPr lang="de-DE" dirty="0"/>
              <a:t> ou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cooperation</a:t>
            </a:r>
            <a:r>
              <a:rPr lang="de-DE" dirty="0"/>
              <a:t>, and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supported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many</a:t>
            </a:r>
            <a:r>
              <a:rPr lang="de-DE" dirty="0"/>
              <a:t> </a:t>
            </a:r>
            <a:r>
              <a:rPr lang="de-DE" dirty="0" err="1"/>
              <a:t>research</a:t>
            </a:r>
            <a:r>
              <a:rPr lang="de-DE" dirty="0"/>
              <a:t> </a:t>
            </a:r>
            <a:r>
              <a:rPr lang="de-DE" dirty="0" err="1"/>
              <a:t>institutions</a:t>
            </a:r>
            <a:r>
              <a:rPr lang="de-DE" dirty="0"/>
              <a:t>, </a:t>
            </a:r>
            <a:r>
              <a:rPr lang="de-DE" dirty="0" err="1"/>
              <a:t>universities</a:t>
            </a:r>
            <a:r>
              <a:rPr lang="de-DE" dirty="0"/>
              <a:t> and </a:t>
            </a:r>
            <a:r>
              <a:rPr lang="de-DE" dirty="0" err="1"/>
              <a:t>partners</a:t>
            </a:r>
            <a:r>
              <a:rPr lang="de-DE" dirty="0"/>
              <a:t>.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93E054-10BB-E038-BCBB-A628CB4FDD0E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11283950" y="6589713"/>
            <a:ext cx="908050" cy="134937"/>
          </a:xfrm>
        </p:spPr>
        <p:txBody>
          <a:bodyPr/>
          <a:lstStyle/>
          <a:p>
            <a:r>
              <a:rPr lang="de-DE"/>
              <a:t>21.10.2022</a:t>
            </a:r>
            <a:endParaRPr lang="de-CH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D8A361-4726-9072-0740-756A2A71F140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589713"/>
            <a:ext cx="4337050" cy="134937"/>
          </a:xfrm>
        </p:spPr>
        <p:txBody>
          <a:bodyPr/>
          <a:lstStyle/>
          <a:p>
            <a:r>
              <a:rPr lang="de-CH"/>
              <a:t>Helmholtz MU-Day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1EC57D-C297-530F-CA07-73C61649A0E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589713"/>
            <a:ext cx="749300" cy="134937"/>
          </a:xfrm>
        </p:spPr>
        <p:txBody>
          <a:bodyPr/>
          <a:lstStyle/>
          <a:p>
            <a:fld id="{2B7F7AFC-335A-4E1E-8346-4C0D714D39C6}" type="slidenum">
              <a:rPr lang="de-CH" smtClean="0"/>
              <a:t>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07932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Placeholder 39">
            <a:extLst>
              <a:ext uri="{FF2B5EF4-FFF2-40B4-BE49-F238E27FC236}">
                <a16:creationId xmlns:a16="http://schemas.microsoft.com/office/drawing/2014/main" id="{319D7F56-5200-CBB5-C95A-5F5C422F7DD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1" r="211"/>
          <a:stretch/>
        </p:blipFill>
        <p:spPr>
          <a:xfrm>
            <a:off x="6384858" y="179998"/>
            <a:ext cx="1844000" cy="1930988"/>
          </a:xfrm>
        </p:spPr>
      </p:pic>
      <p:pic>
        <p:nvPicPr>
          <p:cNvPr id="39" name="Picture Placeholder 38">
            <a:extLst>
              <a:ext uri="{FF2B5EF4-FFF2-40B4-BE49-F238E27FC236}">
                <a16:creationId xmlns:a16="http://schemas.microsoft.com/office/drawing/2014/main" id="{17525A3B-8E57-B031-F2E4-6EA094C7C50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1" r="211"/>
          <a:stretch/>
        </p:blipFill>
        <p:spPr>
          <a:xfrm>
            <a:off x="8300858" y="179998"/>
            <a:ext cx="1844000" cy="1930988"/>
          </a:xfrm>
        </p:spPr>
      </p:pic>
      <p:pic>
        <p:nvPicPr>
          <p:cNvPr id="76" name="Bildplatzhalter 75" descr="Ein Bild, das Mann, Person, Wand, drinnen enthält.&#10;&#10;Automatisch generierte Beschreibung">
            <a:extLst>
              <a:ext uri="{FF2B5EF4-FFF2-40B4-BE49-F238E27FC236}">
                <a16:creationId xmlns:a16="http://schemas.microsoft.com/office/drawing/2014/main" id="{1F9765BC-155C-3FDE-AAF4-7A659FD924F6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6" r="46"/>
          <a:stretch/>
        </p:blipFill>
        <p:spPr>
          <a:xfrm>
            <a:off x="10216856" y="179998"/>
            <a:ext cx="1844000" cy="1930988"/>
          </a:xfrm>
        </p:spPr>
      </p:pic>
      <p:pic>
        <p:nvPicPr>
          <p:cNvPr id="78" name="Bildplatzhalter 77" descr="Ein Bild, das Text, Mann, Person, Anzug enthält.&#10;&#10;Automatisch generierte Beschreibung">
            <a:extLst>
              <a:ext uri="{FF2B5EF4-FFF2-40B4-BE49-F238E27FC236}">
                <a16:creationId xmlns:a16="http://schemas.microsoft.com/office/drawing/2014/main" id="{19C22066-1FD9-7239-9438-06E54C100EF2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" r="13"/>
          <a:stretch/>
        </p:blipFill>
        <p:spPr>
          <a:xfrm>
            <a:off x="6384858" y="2182986"/>
            <a:ext cx="1844000" cy="1930988"/>
          </a:xfrm>
        </p:spPr>
      </p:pic>
      <p:pic>
        <p:nvPicPr>
          <p:cNvPr id="42" name="Picture Placeholder 41">
            <a:extLst>
              <a:ext uri="{FF2B5EF4-FFF2-40B4-BE49-F238E27FC236}">
                <a16:creationId xmlns:a16="http://schemas.microsoft.com/office/drawing/2014/main" id="{3FA3F9B6-8029-4E98-0042-9AF495E4B7D1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" r="5"/>
          <a:stretch/>
        </p:blipFill>
        <p:spPr>
          <a:xfrm>
            <a:off x="8300857" y="2182986"/>
            <a:ext cx="1844000" cy="1930988"/>
          </a:xfrm>
        </p:spPr>
      </p:pic>
      <p:pic>
        <p:nvPicPr>
          <p:cNvPr id="80" name="Bildplatzhalter 79" descr="Ein Bild, das Person, Mann enthält.&#10;&#10;Automatisch generierte Beschreibung">
            <a:extLst>
              <a:ext uri="{FF2B5EF4-FFF2-40B4-BE49-F238E27FC236}">
                <a16:creationId xmlns:a16="http://schemas.microsoft.com/office/drawing/2014/main" id="{7ABDEF33-D923-98C6-7940-BB5AF1C37F1A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0" r="170"/>
          <a:stretch>
            <a:fillRect/>
          </a:stretch>
        </p:blipFill>
        <p:spPr>
          <a:xfrm>
            <a:off x="10216857" y="2182986"/>
            <a:ext cx="1844000" cy="1930988"/>
          </a:xfrm>
        </p:spPr>
      </p:pic>
      <p:pic>
        <p:nvPicPr>
          <p:cNvPr id="82" name="Bildplatzhalter 81" descr="Ein Bild, das Person, Wand, Kleidung, lächelnd enthält.&#10;&#10;Automatisch generierte Beschreibung">
            <a:extLst>
              <a:ext uri="{FF2B5EF4-FFF2-40B4-BE49-F238E27FC236}">
                <a16:creationId xmlns:a16="http://schemas.microsoft.com/office/drawing/2014/main" id="{AB22FFAE-9F99-5103-8FC5-4D51EAD687DB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" r="5"/>
          <a:stretch/>
        </p:blipFill>
        <p:spPr>
          <a:xfrm>
            <a:off x="6384858" y="4185974"/>
            <a:ext cx="1844000" cy="1930988"/>
          </a:xfrm>
        </p:spPr>
      </p:pic>
      <p:pic>
        <p:nvPicPr>
          <p:cNvPr id="45" name="Picture Placeholder 44">
            <a:extLst>
              <a:ext uri="{FF2B5EF4-FFF2-40B4-BE49-F238E27FC236}">
                <a16:creationId xmlns:a16="http://schemas.microsoft.com/office/drawing/2014/main" id="{AB280522-0E8D-B74D-2986-2A280A41AA5A}"/>
              </a:ext>
            </a:extLst>
          </p:cNvPr>
          <p:cNvPicPr>
            <a:picLocks noGrp="1" noChangeAspect="1"/>
          </p:cNvPicPr>
          <p:nvPr>
            <p:ph type="pic" sz="quarter" idx="21"/>
          </p:nvPr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0" r="170"/>
          <a:stretch/>
        </p:blipFill>
        <p:spPr>
          <a:xfrm>
            <a:off x="8300858" y="4185974"/>
            <a:ext cx="1844000" cy="1930988"/>
          </a:xfrm>
        </p:spPr>
      </p:pic>
      <p:pic>
        <p:nvPicPr>
          <p:cNvPr id="44" name="Picture Placeholder 43">
            <a:extLst>
              <a:ext uri="{FF2B5EF4-FFF2-40B4-BE49-F238E27FC236}">
                <a16:creationId xmlns:a16="http://schemas.microsoft.com/office/drawing/2014/main" id="{1B588708-D3DE-C535-2CAF-1ADBCA8D4816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0" r="170"/>
          <a:stretch/>
        </p:blipFill>
        <p:spPr>
          <a:xfrm>
            <a:off x="10216856" y="4185974"/>
            <a:ext cx="1844000" cy="1930988"/>
          </a:xfr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08F45A8F-5385-36CA-1BE1-8A96DD11A8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A large team and many partner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4EA027-BECA-054A-CF88-4ED371C133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068FF3-A2AF-9064-2BB5-8AECBFC2BD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4E0779A8-3CBD-7F53-9539-FC325A75DCA4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040859" y="1858986"/>
            <a:ext cx="1188000" cy="252000"/>
          </a:xfrm>
        </p:spPr>
        <p:txBody>
          <a:bodyPr/>
          <a:lstStyle/>
          <a:p>
            <a:r>
              <a:rPr lang="en-DE" dirty="0"/>
              <a:t>Hasinger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EEB435-F43E-EE7A-038E-6781864C2BC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956857" y="1858986"/>
            <a:ext cx="1188000" cy="252000"/>
          </a:xfrm>
        </p:spPr>
        <p:txBody>
          <a:bodyPr/>
          <a:lstStyle/>
          <a:p>
            <a:r>
              <a:rPr lang="en-DE" dirty="0"/>
              <a:t>Heur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B5F5C68-6F37-0E62-780C-7AC26E9453E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0872856" y="1858986"/>
            <a:ext cx="1188000" cy="252000"/>
          </a:xfrm>
        </p:spPr>
        <p:txBody>
          <a:bodyPr/>
          <a:lstStyle/>
          <a:p>
            <a:r>
              <a:rPr lang="de-CH"/>
              <a:t>Steinmetz</a:t>
            </a:r>
            <a:endParaRPr lang="en-DE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8944977-3E53-54BD-3D18-9DFFF16CFF8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040857" y="3861974"/>
            <a:ext cx="1188000" cy="252000"/>
          </a:xfrm>
        </p:spPr>
        <p:txBody>
          <a:bodyPr/>
          <a:lstStyle/>
          <a:p>
            <a:r>
              <a:rPr lang="de-CH"/>
              <a:t>Nagel</a:t>
            </a:r>
            <a:endParaRPr lang="en-DE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D7BFDEE8-F0EE-0EA8-5305-CDCA40E2FA4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956857" y="3861974"/>
            <a:ext cx="1188000" cy="252000"/>
          </a:xfrm>
        </p:spPr>
        <p:txBody>
          <a:bodyPr/>
          <a:lstStyle/>
          <a:p>
            <a:r>
              <a:rPr lang="en-DE" dirty="0"/>
              <a:t>Kramer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1B4CECF-A36D-36F3-26EC-C65F7DAAD81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10872856" y="3861974"/>
            <a:ext cx="1188000" cy="252000"/>
          </a:xfrm>
        </p:spPr>
        <p:txBody>
          <a:bodyPr/>
          <a:lstStyle/>
          <a:p>
            <a:r>
              <a:rPr lang="de-CH"/>
              <a:t>Hessling</a:t>
            </a:r>
            <a:endParaRPr lang="en-DE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0F1FFD3B-79EA-2078-1DCF-0A9038F8720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040857" y="5864962"/>
            <a:ext cx="1188000" cy="252000"/>
          </a:xfrm>
        </p:spPr>
        <p:txBody>
          <a:bodyPr/>
          <a:lstStyle/>
          <a:p>
            <a:r>
              <a:rPr lang="de-CH" dirty="0" err="1"/>
              <a:t>Henjes</a:t>
            </a:r>
            <a:r>
              <a:rPr lang="de-CH" dirty="0"/>
              <a:t>-Kunst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48FC0B62-5A6C-656C-AA1D-04B54AB2979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956857" y="5864962"/>
            <a:ext cx="1188000" cy="252000"/>
          </a:xfrm>
        </p:spPr>
        <p:txBody>
          <a:bodyPr/>
          <a:lstStyle/>
          <a:p>
            <a:r>
              <a:rPr lang="en-DE" dirty="0"/>
              <a:t>Stegmann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ED66858-2862-435B-925D-A12EDA32C53B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10872856" y="5864962"/>
            <a:ext cx="1188000" cy="252000"/>
          </a:xfrm>
        </p:spPr>
        <p:txBody>
          <a:bodyPr/>
          <a:lstStyle/>
          <a:p>
            <a:r>
              <a:rPr lang="en-DE" dirty="0"/>
              <a:t>Wagner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E22F8F5E-1A96-756F-DB01-BD23D15D8DA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28326" y="4358559"/>
            <a:ext cx="708303" cy="637473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1E97C670-CA97-8B57-C853-C724C2CC6DD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573197" y="4479570"/>
            <a:ext cx="823042" cy="390112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E990460B-119D-F772-9845-15453AC8C8B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287734" y="4407084"/>
            <a:ext cx="748936" cy="500229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5032EFFF-7D7F-823B-32E5-80D1E2154AA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666612" y="4479570"/>
            <a:ext cx="1246911" cy="362802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4AD5CED8-EC7F-2D2C-4159-45025259AA1E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397843" y="4348163"/>
            <a:ext cx="595225" cy="59522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B37DB893-B0DA-537A-8113-91888C11BA3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174740" y="5145286"/>
            <a:ext cx="901538" cy="314491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7A30A9BA-DC55-FAEF-301F-F6A9C92C86B1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190846" y="5165340"/>
            <a:ext cx="722677" cy="311893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4D7E2F5E-789D-6CDC-1991-7644339E310F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259250" y="5728907"/>
            <a:ext cx="780463" cy="481896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C99F283E-3430-CE5F-AB8E-9D15B1102F00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696093" y="5652337"/>
            <a:ext cx="1035096" cy="657324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3D4B049F-1C45-9B63-D533-56A2F3959A11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5196225" y="5075776"/>
            <a:ext cx="703788" cy="505538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EFD540CE-F14E-69BE-FDD2-50A2FC9C7247}"/>
              </a:ext>
            </a:extLst>
          </p:cNvPr>
          <p:cNvPicPr>
            <a:picLocks noChangeAspect="1"/>
          </p:cNvPicPr>
          <p:nvPr/>
        </p:nvPicPr>
        <p:blipFill>
          <a:blip r:embed="rId2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803843" y="5728907"/>
            <a:ext cx="1188000" cy="493778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DC7FD6D3-649C-347D-BBA0-9A43FD3EFC5E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842305" y="5142100"/>
            <a:ext cx="1036346" cy="439214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052B5B53-2C5F-BC4D-574F-C9286830FE22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724126" y="5128057"/>
            <a:ext cx="726389" cy="363195"/>
          </a:xfrm>
          <a:prstGeom prst="rect">
            <a:avLst/>
          </a:prstGeom>
        </p:spPr>
      </p:pic>
      <p:pic>
        <p:nvPicPr>
          <p:cNvPr id="50" name="Grafik 46">
            <a:extLst>
              <a:ext uri="{FF2B5EF4-FFF2-40B4-BE49-F238E27FC236}">
                <a16:creationId xmlns:a16="http://schemas.microsoft.com/office/drawing/2014/main" id="{4A808F7E-7483-4306-E99F-6DA7EA9EF427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3552184" y="5756168"/>
            <a:ext cx="907963" cy="469587"/>
          </a:xfrm>
          <a:prstGeom prst="rect">
            <a:avLst/>
          </a:prstGeom>
        </p:spPr>
      </p:pic>
      <p:sp>
        <p:nvSpPr>
          <p:cNvPr id="85" name="Textplatzhalter 24">
            <a:extLst>
              <a:ext uri="{FF2B5EF4-FFF2-40B4-BE49-F238E27FC236}">
                <a16:creationId xmlns:a16="http://schemas.microsoft.com/office/drawing/2014/main" id="{220C3B0E-E897-2008-9947-88A9981B7112}"/>
              </a:ext>
            </a:extLst>
          </p:cNvPr>
          <p:cNvSpPr txBox="1">
            <a:spLocks/>
          </p:cNvSpPr>
          <p:nvPr/>
        </p:nvSpPr>
        <p:spPr>
          <a:xfrm>
            <a:off x="732954" y="3820194"/>
            <a:ext cx="3864446" cy="4535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0" indent="-216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 cap="all" spc="70" baseline="0">
                <a:gradFill>
                  <a:gsLst>
                    <a:gs pos="73441">
                      <a:srgbClr val="006B99"/>
                    </a:gs>
                    <a:gs pos="31900">
                      <a:srgbClr val="00579A"/>
                    </a:gs>
                    <a:gs pos="0">
                      <a:srgbClr val="00499A"/>
                    </a:gs>
                    <a:gs pos="100000">
                      <a:srgbClr val="007B98"/>
                    </a:gs>
                  </a:gsLst>
                  <a:lin ang="0" scaled="0"/>
                </a:gra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7"/>
            <a:r>
              <a:rPr lang="de-CH" dirty="0"/>
              <a:t>Part </a:t>
            </a:r>
            <a:r>
              <a:rPr lang="de-CH" dirty="0" err="1"/>
              <a:t>of</a:t>
            </a:r>
            <a:r>
              <a:rPr lang="de-CH" dirty="0"/>
              <a:t> </a:t>
            </a:r>
            <a:r>
              <a:rPr lang="de-CH" dirty="0" err="1"/>
              <a:t>the</a:t>
            </a:r>
            <a:r>
              <a:rPr lang="de-CH" dirty="0"/>
              <a:t> Supporter network</a:t>
            </a:r>
          </a:p>
        </p:txBody>
      </p:sp>
      <p:sp>
        <p:nvSpPr>
          <p:cNvPr id="108" name="Foliennummernplatzhalter 107">
            <a:extLst>
              <a:ext uri="{FF2B5EF4-FFF2-40B4-BE49-F238E27FC236}">
                <a16:creationId xmlns:a16="http://schemas.microsoft.com/office/drawing/2014/main" id="{CECBCCFE-D1D9-BEDD-380A-2000A27C1E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t>5</a:t>
            </a:fld>
            <a:endParaRPr lang="de-CH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D325354-F293-CEA3-E0CA-CC55B1C7A702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719358" y="2052785"/>
            <a:ext cx="1308849" cy="49009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EB9108E-5874-8C42-7035-40CF1051B94C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2106088" y="1997677"/>
            <a:ext cx="1705705" cy="57731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1265A84-228F-7E07-17E5-3D3F64ADED9A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2305092" y="2933028"/>
            <a:ext cx="1506701" cy="30134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8F34020-B81E-CA80-F44C-ECB58B0241B9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3927396" y="2867292"/>
            <a:ext cx="1225223" cy="391492"/>
          </a:xfrm>
          <a:prstGeom prst="rect">
            <a:avLst/>
          </a:prstGeom>
        </p:spPr>
      </p:pic>
      <p:pic>
        <p:nvPicPr>
          <p:cNvPr id="11" name="Grafik 2" descr="Ein Bild, das Text enthält.&#10;&#10;Automatisch generierte Beschreibung">
            <a:extLst>
              <a:ext uri="{FF2B5EF4-FFF2-40B4-BE49-F238E27FC236}">
                <a16:creationId xmlns:a16="http://schemas.microsoft.com/office/drawing/2014/main" id="{7C4D9EDE-0A1C-8A60-7B66-F73720032973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3897283" y="2126313"/>
            <a:ext cx="1258597" cy="393311"/>
          </a:xfrm>
          <a:prstGeom prst="rect">
            <a:avLst/>
          </a:prstGeom>
        </p:spPr>
      </p:pic>
      <p:pic>
        <p:nvPicPr>
          <p:cNvPr id="38" name="Grafik 31">
            <a:extLst>
              <a:ext uri="{FF2B5EF4-FFF2-40B4-BE49-F238E27FC236}">
                <a16:creationId xmlns:a16="http://schemas.microsoft.com/office/drawing/2014/main" id="{BC02DED1-C3A3-7782-4BCD-852B24E75605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602108" y="2711056"/>
            <a:ext cx="1657142" cy="766133"/>
          </a:xfrm>
          <a:prstGeom prst="rect">
            <a:avLst/>
          </a:prstGeom>
        </p:spPr>
      </p:pic>
      <p:pic>
        <p:nvPicPr>
          <p:cNvPr id="41" name="Grafik 33">
            <a:extLst>
              <a:ext uri="{FF2B5EF4-FFF2-40B4-BE49-F238E27FC236}">
                <a16:creationId xmlns:a16="http://schemas.microsoft.com/office/drawing/2014/main" id="{FF76CD0E-A956-6503-A971-4F793C35A666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5318500" y="1923699"/>
            <a:ext cx="757601" cy="601535"/>
          </a:xfrm>
          <a:prstGeom prst="rect">
            <a:avLst/>
          </a:prstGeom>
        </p:spPr>
      </p:pic>
      <p:sp>
        <p:nvSpPr>
          <p:cNvPr id="43" name="Textplatzhalter 24">
            <a:extLst>
              <a:ext uri="{FF2B5EF4-FFF2-40B4-BE49-F238E27FC236}">
                <a16:creationId xmlns:a16="http://schemas.microsoft.com/office/drawing/2014/main" id="{7F19FE5A-BF86-7E23-3F56-7064033DE2A7}"/>
              </a:ext>
            </a:extLst>
          </p:cNvPr>
          <p:cNvSpPr txBox="1">
            <a:spLocks/>
          </p:cNvSpPr>
          <p:nvPr/>
        </p:nvSpPr>
        <p:spPr>
          <a:xfrm>
            <a:off x="719399" y="1587600"/>
            <a:ext cx="2485101" cy="4535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16000" indent="-216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216000" algn="l" defTabSz="914400" rtl="0" eaLnBrk="1" latinLnBrk="0" hangingPunct="1">
              <a:lnSpc>
                <a:spcPct val="105000"/>
              </a:lnSpc>
              <a:spcBef>
                <a:spcPts val="3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" indent="-180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16000" indent="-216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32000" indent="-216000" algn="l" defTabSz="914400" rtl="0" eaLnBrk="1" latinLnBrk="0" hangingPunct="1">
              <a:lnSpc>
                <a:spcPct val="105000"/>
              </a:lnSpc>
              <a:spcBef>
                <a:spcPts val="600"/>
              </a:spcBef>
              <a:buClr>
                <a:schemeClr val="tx2"/>
              </a:buClr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5000"/>
              </a:lnSpc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1" kern="1200" cap="all" spc="70" baseline="0">
                <a:gradFill>
                  <a:gsLst>
                    <a:gs pos="73441">
                      <a:srgbClr val="006B99"/>
                    </a:gs>
                    <a:gs pos="31900">
                      <a:srgbClr val="00579A"/>
                    </a:gs>
                    <a:gs pos="0">
                      <a:srgbClr val="00499A"/>
                    </a:gs>
                    <a:gs pos="100000">
                      <a:srgbClr val="007B98"/>
                    </a:gs>
                  </a:gsLst>
                  <a:lin ang="0" scaled="0"/>
                </a:gra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lvl="7"/>
            <a:r>
              <a:rPr lang="de-CH" dirty="0" err="1"/>
              <a:t>Founding</a:t>
            </a:r>
            <a:r>
              <a:rPr lang="de-CH" dirty="0"/>
              <a:t> </a:t>
            </a:r>
            <a:r>
              <a:rPr lang="de-CH" dirty="0" err="1"/>
              <a:t>partner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734663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8EA236B1-F2B9-0513-768C-4FBE9812DE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8EA236B1-F2B9-0513-768C-4FBE9812DE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el 13">
            <a:extLst>
              <a:ext uri="{FF2B5EF4-FFF2-40B4-BE49-F238E27FC236}">
                <a16:creationId xmlns:a16="http://schemas.microsoft.com/office/drawing/2014/main" id="{89AC2DC2-F8FF-5AF3-04D9-5089A1CF7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ZA concept : the challenges of astrophysics to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E0826BB-5871-6DE1-4BD3-68BA957D97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pPr/>
              <a:t>6</a:t>
            </a:fld>
            <a:endParaRPr lang="de-CH"/>
          </a:p>
        </p:txBody>
      </p:sp>
      <p:sp>
        <p:nvSpPr>
          <p:cNvPr id="11" name="Trapezoid 10">
            <a:extLst>
              <a:ext uri="{FF2B5EF4-FFF2-40B4-BE49-F238E27FC236}">
                <a16:creationId xmlns:a16="http://schemas.microsoft.com/office/drawing/2014/main" id="{19540A6A-F20D-9C61-33B5-E28B0D9CA18C}"/>
              </a:ext>
            </a:extLst>
          </p:cNvPr>
          <p:cNvSpPr/>
          <p:nvPr/>
        </p:nvSpPr>
        <p:spPr>
          <a:xfrm>
            <a:off x="1482855" y="1548882"/>
            <a:ext cx="2808000" cy="3832742"/>
          </a:xfrm>
          <a:prstGeom prst="trapezoid">
            <a:avLst>
              <a:gd name="adj" fmla="val 7194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080000" rIns="0" bIns="0" rtlCol="0" anchor="t"/>
          <a:lstStyle/>
          <a:p>
            <a:pPr algn="ctr">
              <a:lnSpc>
                <a:spcPct val="95000"/>
              </a:lnSpc>
              <a:spcBef>
                <a:spcPts val="1200"/>
              </a:spcBef>
            </a:pPr>
            <a:r>
              <a:rPr lang="de-CH" sz="2000" b="1" dirty="0">
                <a:solidFill>
                  <a:schemeClr val="tx2"/>
                </a:solidFill>
                <a:latin typeface="+mj-lt"/>
              </a:rPr>
              <a:t> </a:t>
            </a:r>
            <a:br>
              <a:rPr lang="de-CH" sz="2000" b="1" dirty="0">
                <a:solidFill>
                  <a:schemeClr val="tx2"/>
                </a:solidFill>
                <a:latin typeface="+mj-lt"/>
              </a:rPr>
            </a:br>
            <a:r>
              <a:rPr lang="de-CH" sz="2000" b="1" dirty="0" err="1">
                <a:solidFill>
                  <a:schemeClr val="tx2"/>
                </a:solidFill>
                <a:latin typeface="+mj-lt"/>
              </a:rPr>
              <a:t>Astronomy</a:t>
            </a:r>
            <a:endParaRPr lang="de-CH" sz="2000" b="1" dirty="0">
              <a:solidFill>
                <a:schemeClr val="tx2"/>
              </a:solidFill>
              <a:latin typeface="+mj-lt"/>
            </a:endParaRPr>
          </a:p>
          <a:p>
            <a:pPr algn="ctr">
              <a:lnSpc>
                <a:spcPct val="95000"/>
              </a:lnSpc>
              <a:spcBef>
                <a:spcPts val="2400"/>
              </a:spcBef>
            </a:pPr>
            <a:r>
              <a:rPr lang="de-CH" sz="1600" dirty="0"/>
              <a:t>Square </a:t>
            </a:r>
            <a:r>
              <a:rPr lang="de-CH" sz="1600" dirty="0" err="1"/>
              <a:t>Kilometre</a:t>
            </a:r>
            <a:r>
              <a:rPr lang="de-CH" sz="1600" dirty="0"/>
              <a:t> Array Observatory (SKAO)</a:t>
            </a:r>
          </a:p>
          <a:p>
            <a:pPr algn="ctr">
              <a:lnSpc>
                <a:spcPct val="95000"/>
              </a:lnSpc>
              <a:spcBef>
                <a:spcPts val="1200"/>
              </a:spcBef>
            </a:pPr>
            <a:r>
              <a:rPr lang="de-CH" sz="1600" dirty="0"/>
              <a:t>Einstein </a:t>
            </a:r>
            <a:r>
              <a:rPr lang="de-CH" sz="1600" dirty="0" err="1"/>
              <a:t>Telescope</a:t>
            </a:r>
            <a:r>
              <a:rPr lang="de-CH" sz="1600" dirty="0"/>
              <a:t>  </a:t>
            </a:r>
            <a:br>
              <a:rPr lang="de-CH" sz="1600" dirty="0"/>
            </a:br>
            <a:r>
              <a:rPr lang="de-CH" sz="1600" dirty="0"/>
              <a:t>(Low </a:t>
            </a:r>
            <a:r>
              <a:rPr lang="de-CH" sz="1600" dirty="0" err="1"/>
              <a:t>Seismic</a:t>
            </a:r>
            <a:r>
              <a:rPr lang="de-CH" sz="1600" dirty="0"/>
              <a:t> Lab)</a:t>
            </a:r>
          </a:p>
        </p:txBody>
      </p:sp>
      <p:sp>
        <p:nvSpPr>
          <p:cNvPr id="22" name="Trapezoid 21">
            <a:extLst>
              <a:ext uri="{FF2B5EF4-FFF2-40B4-BE49-F238E27FC236}">
                <a16:creationId xmlns:a16="http://schemas.microsoft.com/office/drawing/2014/main" id="{8E1C36A5-397A-38F6-A899-B14E7F638F2E}"/>
              </a:ext>
            </a:extLst>
          </p:cNvPr>
          <p:cNvSpPr/>
          <p:nvPr/>
        </p:nvSpPr>
        <p:spPr>
          <a:xfrm>
            <a:off x="8209868" y="1548882"/>
            <a:ext cx="2808000" cy="3832742"/>
          </a:xfrm>
          <a:prstGeom prst="trapezoid">
            <a:avLst>
              <a:gd name="adj" fmla="val 7194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080000" rIns="0" bIns="0" rtlCol="0" anchor="t"/>
          <a:lstStyle/>
          <a:p>
            <a:pPr algn="ctr">
              <a:lnSpc>
                <a:spcPct val="95000"/>
              </a:lnSpc>
              <a:spcBef>
                <a:spcPts val="1200"/>
              </a:spcBef>
            </a:pPr>
            <a:r>
              <a:rPr lang="de-CH" sz="2000" b="1" dirty="0">
                <a:solidFill>
                  <a:schemeClr val="tx2"/>
                </a:solidFill>
                <a:latin typeface="+mj-lt"/>
              </a:rPr>
              <a:t>Data Intensive Computing</a:t>
            </a:r>
          </a:p>
          <a:p>
            <a:pPr algn="ctr">
              <a:lnSpc>
                <a:spcPct val="105000"/>
              </a:lnSpc>
              <a:spcBef>
                <a:spcPts val="2400"/>
              </a:spcBef>
            </a:pPr>
            <a:r>
              <a:rPr lang="en-US" sz="1600" dirty="0"/>
              <a:t>Processing huge amounts </a:t>
            </a:r>
            <a:br>
              <a:rPr lang="en-US" sz="1600" dirty="0"/>
            </a:br>
            <a:r>
              <a:rPr lang="en-US" sz="1600" dirty="0"/>
              <a:t>of astrophysics data from </a:t>
            </a:r>
            <a:br>
              <a:rPr lang="en-US" sz="1600" dirty="0"/>
            </a:br>
            <a:r>
              <a:rPr lang="en-US" sz="1600" dirty="0"/>
              <a:t>all over the world</a:t>
            </a:r>
          </a:p>
          <a:p>
            <a:pPr algn="ctr">
              <a:lnSpc>
                <a:spcPct val="105000"/>
              </a:lnSpc>
              <a:spcBef>
                <a:spcPts val="1200"/>
              </a:spcBef>
            </a:pPr>
            <a:r>
              <a:rPr lang="en-US" sz="1600" dirty="0"/>
              <a:t>Innovative AI based and </a:t>
            </a:r>
            <a:br>
              <a:rPr lang="en-US" sz="1600" dirty="0"/>
            </a:br>
            <a:r>
              <a:rPr lang="en-US" sz="1600" dirty="0"/>
              <a:t>Smart Green Computing</a:t>
            </a:r>
          </a:p>
        </p:txBody>
      </p:sp>
      <p:sp>
        <p:nvSpPr>
          <p:cNvPr id="23" name="Trapezoid 22">
            <a:extLst>
              <a:ext uri="{FF2B5EF4-FFF2-40B4-BE49-F238E27FC236}">
                <a16:creationId xmlns:a16="http://schemas.microsoft.com/office/drawing/2014/main" id="{3562626B-E661-6FD0-3CD5-036B476C70A0}"/>
              </a:ext>
            </a:extLst>
          </p:cNvPr>
          <p:cNvSpPr/>
          <p:nvPr/>
        </p:nvSpPr>
        <p:spPr>
          <a:xfrm>
            <a:off x="4835613" y="1548883"/>
            <a:ext cx="2808000" cy="3832742"/>
          </a:xfrm>
          <a:prstGeom prst="trapezoid">
            <a:avLst>
              <a:gd name="adj" fmla="val 7194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080000" rIns="0" bIns="0" rtlCol="0" anchor="t"/>
          <a:lstStyle/>
          <a:p>
            <a:pPr algn="ctr">
              <a:lnSpc>
                <a:spcPct val="95000"/>
              </a:lnSpc>
              <a:spcBef>
                <a:spcPts val="1200"/>
              </a:spcBef>
            </a:pPr>
            <a:r>
              <a:rPr lang="de-DE" sz="2000" b="1">
                <a:solidFill>
                  <a:schemeClr val="tx2"/>
                </a:solidFill>
                <a:latin typeface="+mj-lt"/>
              </a:rPr>
              <a:t> </a:t>
            </a:r>
            <a:br>
              <a:rPr lang="de-DE" sz="2000" b="1">
                <a:solidFill>
                  <a:schemeClr val="tx2"/>
                </a:solidFill>
                <a:latin typeface="+mj-lt"/>
              </a:rPr>
            </a:br>
            <a:r>
              <a:rPr lang="de-DE" sz="2000" b="1">
                <a:solidFill>
                  <a:schemeClr val="tx2"/>
                </a:solidFill>
                <a:latin typeface="+mj-lt"/>
              </a:rPr>
              <a:t>Instruments</a:t>
            </a:r>
          </a:p>
          <a:p>
            <a:pPr algn="ctr">
              <a:lnSpc>
                <a:spcPct val="95000"/>
              </a:lnSpc>
              <a:spcBef>
                <a:spcPts val="2400"/>
              </a:spcBef>
            </a:pPr>
            <a:r>
              <a:rPr lang="en-US" sz="1600"/>
              <a:t>Developments for future astronomical experiments</a:t>
            </a:r>
          </a:p>
          <a:p>
            <a:pPr algn="ctr">
              <a:lnSpc>
                <a:spcPct val="95000"/>
              </a:lnSpc>
              <a:spcBef>
                <a:spcPts val="1200"/>
              </a:spcBef>
            </a:pPr>
            <a:r>
              <a:rPr lang="en-US" sz="1600"/>
              <a:t>Strong participation of </a:t>
            </a:r>
            <a:br>
              <a:rPr lang="en-US" sz="1600"/>
            </a:br>
            <a:r>
              <a:rPr lang="en-US" sz="1600"/>
              <a:t>Saxon industry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EBFEAA7B-9137-01E0-0A03-1A16DB1A032B}"/>
              </a:ext>
            </a:extLst>
          </p:cNvPr>
          <p:cNvSpPr txBox="1"/>
          <p:nvPr/>
        </p:nvSpPr>
        <p:spPr>
          <a:xfrm>
            <a:off x="719400" y="5657849"/>
            <a:ext cx="10753200" cy="5013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>
                <a:solidFill>
                  <a:schemeClr val="bg1"/>
                </a:solidFill>
              </a:rPr>
              <a:t>Interlocking of pillars </a:t>
            </a:r>
            <a:r>
              <a:rPr lang="en-US" sz="1400">
                <a:solidFill>
                  <a:schemeClr val="accent6"/>
                </a:solidFill>
                <a:sym typeface="Wingdings" panose="05000000000000000000" pitchFamily="2" charset="2"/>
              </a:rPr>
              <a:t></a:t>
            </a:r>
            <a:r>
              <a:rPr lang="en-US" sz="1600">
                <a:solidFill>
                  <a:schemeClr val="bg1"/>
                </a:solidFill>
              </a:rPr>
              <a:t> unique synergies</a:t>
            </a: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5EF0AD31-2333-1292-50E0-ED806B37A2CE}"/>
              </a:ext>
            </a:extLst>
          </p:cNvPr>
          <p:cNvCxnSpPr/>
          <p:nvPr/>
        </p:nvCxnSpPr>
        <p:spPr>
          <a:xfrm>
            <a:off x="2526855" y="3524251"/>
            <a:ext cx="72000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674BF578-CED1-F9AC-BFE5-EB383A8D8D51}"/>
              </a:ext>
            </a:extLst>
          </p:cNvPr>
          <p:cNvCxnSpPr/>
          <p:nvPr/>
        </p:nvCxnSpPr>
        <p:spPr>
          <a:xfrm>
            <a:off x="9165004" y="3524251"/>
            <a:ext cx="72000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r Verbinder 87">
            <a:extLst>
              <a:ext uri="{FF2B5EF4-FFF2-40B4-BE49-F238E27FC236}">
                <a16:creationId xmlns:a16="http://schemas.microsoft.com/office/drawing/2014/main" id="{78002FAA-930A-876F-E5CA-CD6B9F51B6E2}"/>
              </a:ext>
            </a:extLst>
          </p:cNvPr>
          <p:cNvCxnSpPr/>
          <p:nvPr/>
        </p:nvCxnSpPr>
        <p:spPr>
          <a:xfrm>
            <a:off x="5862186" y="3524251"/>
            <a:ext cx="720000" cy="0"/>
          </a:xfrm>
          <a:prstGeom prst="line">
            <a:avLst/>
          </a:prstGeom>
          <a:ln w="317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Freihandform: Form 137">
            <a:extLst>
              <a:ext uri="{FF2B5EF4-FFF2-40B4-BE49-F238E27FC236}">
                <a16:creationId xmlns:a16="http://schemas.microsoft.com/office/drawing/2014/main" id="{5B30F3FF-10FC-1ACE-17BC-9B1BFB4F4DF6}"/>
              </a:ext>
            </a:extLst>
          </p:cNvPr>
          <p:cNvSpPr/>
          <p:nvPr/>
        </p:nvSpPr>
        <p:spPr>
          <a:xfrm>
            <a:off x="5710508" y="1853681"/>
            <a:ext cx="1058209" cy="1066659"/>
          </a:xfrm>
          <a:custGeom>
            <a:avLst/>
            <a:gdLst>
              <a:gd name="connsiteX0" fmla="*/ 1057792 w 1058209"/>
              <a:gd name="connsiteY0" fmla="*/ 415012 h 1066659"/>
              <a:gd name="connsiteX1" fmla="*/ 901519 w 1058209"/>
              <a:gd name="connsiteY1" fmla="*/ 11017 h 1066659"/>
              <a:gd name="connsiteX2" fmla="*/ 879905 w 1058209"/>
              <a:gd name="connsiteY2" fmla="*/ 1044 h 1066659"/>
              <a:gd name="connsiteX3" fmla="*/ 750222 w 1058209"/>
              <a:gd name="connsiteY3" fmla="*/ 50917 h 1066659"/>
              <a:gd name="connsiteX4" fmla="*/ 740249 w 1058209"/>
              <a:gd name="connsiteY4" fmla="*/ 72531 h 1066659"/>
              <a:gd name="connsiteX5" fmla="*/ 755213 w 1058209"/>
              <a:gd name="connsiteY5" fmla="*/ 110772 h 1066659"/>
              <a:gd name="connsiteX6" fmla="*/ 291357 w 1058209"/>
              <a:gd name="connsiteY6" fmla="*/ 290327 h 1066659"/>
              <a:gd name="connsiteX7" fmla="*/ 283045 w 1058209"/>
              <a:gd name="connsiteY7" fmla="*/ 298639 h 1066659"/>
              <a:gd name="connsiteX8" fmla="*/ 283045 w 1058209"/>
              <a:gd name="connsiteY8" fmla="*/ 310274 h 1066659"/>
              <a:gd name="connsiteX9" fmla="*/ 306321 w 1058209"/>
              <a:gd name="connsiteY9" fmla="*/ 371791 h 1066659"/>
              <a:gd name="connsiteX10" fmla="*/ 10388 w 1058209"/>
              <a:gd name="connsiteY10" fmla="*/ 486509 h 1066659"/>
              <a:gd name="connsiteX11" fmla="*/ 415 w 1058209"/>
              <a:gd name="connsiteY11" fmla="*/ 508124 h 1066659"/>
              <a:gd name="connsiteX12" fmla="*/ 55279 w 1058209"/>
              <a:gd name="connsiteY12" fmla="*/ 651101 h 1066659"/>
              <a:gd name="connsiteX13" fmla="*/ 76894 w 1058209"/>
              <a:gd name="connsiteY13" fmla="*/ 661075 h 1066659"/>
              <a:gd name="connsiteX14" fmla="*/ 371161 w 1058209"/>
              <a:gd name="connsiteY14" fmla="*/ 548026 h 1066659"/>
              <a:gd name="connsiteX15" fmla="*/ 394437 w 1058209"/>
              <a:gd name="connsiteY15" fmla="*/ 609542 h 1066659"/>
              <a:gd name="connsiteX16" fmla="*/ 409401 w 1058209"/>
              <a:gd name="connsiteY16" fmla="*/ 619515 h 1066659"/>
              <a:gd name="connsiteX17" fmla="*/ 414390 w 1058209"/>
              <a:gd name="connsiteY17" fmla="*/ 617854 h 1066659"/>
              <a:gd name="connsiteX18" fmla="*/ 484218 w 1058209"/>
              <a:gd name="connsiteY18" fmla="*/ 591256 h 1066659"/>
              <a:gd name="connsiteX19" fmla="*/ 502503 w 1058209"/>
              <a:gd name="connsiteY19" fmla="*/ 611211 h 1066659"/>
              <a:gd name="connsiteX20" fmla="*/ 263083 w 1058209"/>
              <a:gd name="connsiteY20" fmla="*/ 1041796 h 1066659"/>
              <a:gd name="connsiteX21" fmla="*/ 269733 w 1058209"/>
              <a:gd name="connsiteY21" fmla="*/ 1063410 h 1066659"/>
              <a:gd name="connsiteX22" fmla="*/ 291347 w 1058209"/>
              <a:gd name="connsiteY22" fmla="*/ 1056758 h 1066659"/>
              <a:gd name="connsiteX23" fmla="*/ 534082 w 1058209"/>
              <a:gd name="connsiteY23" fmla="*/ 624488 h 1066659"/>
              <a:gd name="connsiteX24" fmla="*/ 535743 w 1058209"/>
              <a:gd name="connsiteY24" fmla="*/ 624488 h 1066659"/>
              <a:gd name="connsiteX25" fmla="*/ 535743 w 1058209"/>
              <a:gd name="connsiteY25" fmla="*/ 1048430 h 1066659"/>
              <a:gd name="connsiteX26" fmla="*/ 552367 w 1058209"/>
              <a:gd name="connsiteY26" fmla="*/ 1065056 h 1066659"/>
              <a:gd name="connsiteX27" fmla="*/ 568991 w 1058209"/>
              <a:gd name="connsiteY27" fmla="*/ 1048430 h 1066659"/>
              <a:gd name="connsiteX28" fmla="*/ 568991 w 1058209"/>
              <a:gd name="connsiteY28" fmla="*/ 626134 h 1066659"/>
              <a:gd name="connsiteX29" fmla="*/ 570652 w 1058209"/>
              <a:gd name="connsiteY29" fmla="*/ 626134 h 1066659"/>
              <a:gd name="connsiteX30" fmla="*/ 815052 w 1058209"/>
              <a:gd name="connsiteY30" fmla="*/ 1058404 h 1066659"/>
              <a:gd name="connsiteX31" fmla="*/ 836666 w 1058209"/>
              <a:gd name="connsiteY31" fmla="*/ 1065056 h 1066659"/>
              <a:gd name="connsiteX32" fmla="*/ 843319 w 1058209"/>
              <a:gd name="connsiteY32" fmla="*/ 1043442 h 1066659"/>
              <a:gd name="connsiteX33" fmla="*/ 600585 w 1058209"/>
              <a:gd name="connsiteY33" fmla="*/ 611172 h 1066659"/>
              <a:gd name="connsiteX34" fmla="*/ 632172 w 1058209"/>
              <a:gd name="connsiteY34" fmla="*/ 547996 h 1066659"/>
              <a:gd name="connsiteX35" fmla="*/ 630511 w 1058209"/>
              <a:gd name="connsiteY35" fmla="*/ 534694 h 1066659"/>
              <a:gd name="connsiteX36" fmla="*/ 883218 w 1058209"/>
              <a:gd name="connsiteY36" fmla="*/ 438268 h 1066659"/>
              <a:gd name="connsiteX37" fmla="*/ 898182 w 1058209"/>
              <a:gd name="connsiteY37" fmla="*/ 476508 h 1066659"/>
              <a:gd name="connsiteX38" fmla="*/ 919797 w 1058209"/>
              <a:gd name="connsiteY38" fmla="*/ 486482 h 1066659"/>
              <a:gd name="connsiteX39" fmla="*/ 1049480 w 1058209"/>
              <a:gd name="connsiteY39" fmla="*/ 436608 h 1066659"/>
              <a:gd name="connsiteX40" fmla="*/ 1057784 w 1058209"/>
              <a:gd name="connsiteY40" fmla="*/ 414994 h 1066659"/>
              <a:gd name="connsiteX41" fmla="*/ 80213 w 1058209"/>
              <a:gd name="connsiteY41" fmla="*/ 624494 h 1066659"/>
              <a:gd name="connsiteX42" fmla="*/ 36984 w 1058209"/>
              <a:gd name="connsiteY42" fmla="*/ 511445 h 1066659"/>
              <a:gd name="connsiteX43" fmla="*/ 316301 w 1058209"/>
              <a:gd name="connsiteY43" fmla="*/ 403379 h 1066659"/>
              <a:gd name="connsiteX44" fmla="*/ 359530 w 1058209"/>
              <a:gd name="connsiteY44" fmla="*/ 516428 h 1066659"/>
              <a:gd name="connsiteX45" fmla="*/ 552377 w 1058209"/>
              <a:gd name="connsiteY45" fmla="*/ 594568 h 1066659"/>
              <a:gd name="connsiteX46" fmla="*/ 505825 w 1058209"/>
              <a:gd name="connsiteY46" fmla="*/ 548016 h 1066659"/>
              <a:gd name="connsiteX47" fmla="*/ 552377 w 1058209"/>
              <a:gd name="connsiteY47" fmla="*/ 501464 h 1066659"/>
              <a:gd name="connsiteX48" fmla="*/ 598929 w 1058209"/>
              <a:gd name="connsiteY48" fmla="*/ 548016 h 1066659"/>
              <a:gd name="connsiteX49" fmla="*/ 552377 w 1058209"/>
              <a:gd name="connsiteY49" fmla="*/ 594568 h 1066659"/>
              <a:gd name="connsiteX50" fmla="*/ 618876 w 1058209"/>
              <a:gd name="connsiteY50" fmla="*/ 504787 h 1066659"/>
              <a:gd name="connsiteX51" fmla="*/ 552377 w 1058209"/>
              <a:gd name="connsiteY51" fmla="*/ 468208 h 1066659"/>
              <a:gd name="connsiteX52" fmla="*/ 472575 w 1058209"/>
              <a:gd name="connsiteY52" fmla="*/ 548010 h 1066659"/>
              <a:gd name="connsiteX53" fmla="*/ 474237 w 1058209"/>
              <a:gd name="connsiteY53" fmla="*/ 561312 h 1066659"/>
              <a:gd name="connsiteX54" fmla="*/ 419373 w 1058209"/>
              <a:gd name="connsiteY54" fmla="*/ 582927 h 1066659"/>
              <a:gd name="connsiteX55" fmla="*/ 316297 w 1058209"/>
              <a:gd name="connsiteY55" fmla="*/ 316915 h 1066659"/>
              <a:gd name="connsiteX56" fmla="*/ 768513 w 1058209"/>
              <a:gd name="connsiteY56" fmla="*/ 142350 h 1066659"/>
              <a:gd name="connsiteX57" fmla="*/ 871589 w 1058209"/>
              <a:gd name="connsiteY57" fmla="*/ 408361 h 1066659"/>
              <a:gd name="connsiteX58" fmla="*/ 921470 w 1058209"/>
              <a:gd name="connsiteY58" fmla="*/ 449923 h 1066659"/>
              <a:gd name="connsiteX59" fmla="*/ 778493 w 1058209"/>
              <a:gd name="connsiteY59" fmla="*/ 75848 h 1066659"/>
              <a:gd name="connsiteX60" fmla="*/ 878247 w 1058209"/>
              <a:gd name="connsiteY60" fmla="*/ 37608 h 1066659"/>
              <a:gd name="connsiteX61" fmla="*/ 1022884 w 1058209"/>
              <a:gd name="connsiteY61" fmla="*/ 411683 h 10666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1058209" h="1066659">
                <a:moveTo>
                  <a:pt x="1057792" y="415012"/>
                </a:moveTo>
                <a:lnTo>
                  <a:pt x="901519" y="11017"/>
                </a:lnTo>
                <a:cubicBezTo>
                  <a:pt x="898198" y="2704"/>
                  <a:pt x="889884" y="-2286"/>
                  <a:pt x="879905" y="1044"/>
                </a:cubicBezTo>
                <a:lnTo>
                  <a:pt x="750222" y="50917"/>
                </a:lnTo>
                <a:cubicBezTo>
                  <a:pt x="741910" y="54239"/>
                  <a:pt x="738589" y="64220"/>
                  <a:pt x="740249" y="72531"/>
                </a:cubicBezTo>
                <a:lnTo>
                  <a:pt x="755213" y="110772"/>
                </a:lnTo>
                <a:lnTo>
                  <a:pt x="291357" y="290327"/>
                </a:lnTo>
                <a:cubicBezTo>
                  <a:pt x="288036" y="291989"/>
                  <a:pt x="284705" y="295318"/>
                  <a:pt x="283045" y="298639"/>
                </a:cubicBezTo>
                <a:cubicBezTo>
                  <a:pt x="281384" y="301962"/>
                  <a:pt x="281384" y="306953"/>
                  <a:pt x="283045" y="310274"/>
                </a:cubicBezTo>
                <a:lnTo>
                  <a:pt x="306321" y="371791"/>
                </a:lnTo>
                <a:lnTo>
                  <a:pt x="10388" y="486509"/>
                </a:lnTo>
                <a:cubicBezTo>
                  <a:pt x="2076" y="489830"/>
                  <a:pt x="-1246" y="499812"/>
                  <a:pt x="415" y="508124"/>
                </a:cubicBezTo>
                <a:lnTo>
                  <a:pt x="55279" y="651101"/>
                </a:lnTo>
                <a:cubicBezTo>
                  <a:pt x="58601" y="659413"/>
                  <a:pt x="66913" y="662734"/>
                  <a:pt x="76894" y="661075"/>
                </a:cubicBezTo>
                <a:lnTo>
                  <a:pt x="371161" y="548026"/>
                </a:lnTo>
                <a:lnTo>
                  <a:pt x="394437" y="609542"/>
                </a:lnTo>
                <a:cubicBezTo>
                  <a:pt x="396099" y="616192"/>
                  <a:pt x="402749" y="619515"/>
                  <a:pt x="409401" y="619515"/>
                </a:cubicBezTo>
                <a:cubicBezTo>
                  <a:pt x="411061" y="619515"/>
                  <a:pt x="412722" y="619515"/>
                  <a:pt x="414390" y="617854"/>
                </a:cubicBezTo>
                <a:lnTo>
                  <a:pt x="484218" y="591256"/>
                </a:lnTo>
                <a:cubicBezTo>
                  <a:pt x="489209" y="599568"/>
                  <a:pt x="495853" y="606221"/>
                  <a:pt x="502503" y="611211"/>
                </a:cubicBezTo>
                <a:lnTo>
                  <a:pt x="263083" y="1041796"/>
                </a:lnTo>
                <a:cubicBezTo>
                  <a:pt x="258092" y="1050108"/>
                  <a:pt x="261421" y="1060081"/>
                  <a:pt x="269733" y="1063410"/>
                </a:cubicBezTo>
                <a:cubicBezTo>
                  <a:pt x="278045" y="1068401"/>
                  <a:pt x="288018" y="1065070"/>
                  <a:pt x="291347" y="1056758"/>
                </a:cubicBezTo>
                <a:lnTo>
                  <a:pt x="534082" y="624488"/>
                </a:lnTo>
                <a:lnTo>
                  <a:pt x="535743" y="624488"/>
                </a:lnTo>
                <a:lnTo>
                  <a:pt x="535743" y="1048430"/>
                </a:lnTo>
                <a:cubicBezTo>
                  <a:pt x="535743" y="1056744"/>
                  <a:pt x="542393" y="1065056"/>
                  <a:pt x="552367" y="1065056"/>
                </a:cubicBezTo>
                <a:cubicBezTo>
                  <a:pt x="562340" y="1065056"/>
                  <a:pt x="568991" y="1058404"/>
                  <a:pt x="568991" y="1048430"/>
                </a:cubicBezTo>
                <a:lnTo>
                  <a:pt x="568991" y="626134"/>
                </a:lnTo>
                <a:lnTo>
                  <a:pt x="570652" y="626134"/>
                </a:lnTo>
                <a:lnTo>
                  <a:pt x="815052" y="1058404"/>
                </a:lnTo>
                <a:cubicBezTo>
                  <a:pt x="820042" y="1066718"/>
                  <a:pt x="830016" y="1068377"/>
                  <a:pt x="836666" y="1065056"/>
                </a:cubicBezTo>
                <a:cubicBezTo>
                  <a:pt x="844978" y="1060065"/>
                  <a:pt x="846640" y="1050092"/>
                  <a:pt x="843319" y="1043442"/>
                </a:cubicBezTo>
                <a:lnTo>
                  <a:pt x="600585" y="611172"/>
                </a:lnTo>
                <a:cubicBezTo>
                  <a:pt x="620539" y="596208"/>
                  <a:pt x="632172" y="574593"/>
                  <a:pt x="632172" y="547996"/>
                </a:cubicBezTo>
                <a:cubicBezTo>
                  <a:pt x="632172" y="543005"/>
                  <a:pt x="632172" y="539684"/>
                  <a:pt x="630511" y="534694"/>
                </a:cubicBezTo>
                <a:lnTo>
                  <a:pt x="883218" y="438268"/>
                </a:lnTo>
                <a:lnTo>
                  <a:pt x="898182" y="476508"/>
                </a:lnTo>
                <a:cubicBezTo>
                  <a:pt x="901504" y="484820"/>
                  <a:pt x="909816" y="488141"/>
                  <a:pt x="919797" y="486482"/>
                </a:cubicBezTo>
                <a:lnTo>
                  <a:pt x="1049480" y="436608"/>
                </a:lnTo>
                <a:cubicBezTo>
                  <a:pt x="1056122" y="433277"/>
                  <a:pt x="1059451" y="423304"/>
                  <a:pt x="1057784" y="414994"/>
                </a:cubicBezTo>
                <a:close/>
                <a:moveTo>
                  <a:pt x="80213" y="624494"/>
                </a:moveTo>
                <a:lnTo>
                  <a:pt x="36984" y="511445"/>
                </a:lnTo>
                <a:lnTo>
                  <a:pt x="316301" y="403379"/>
                </a:lnTo>
                <a:lnTo>
                  <a:pt x="359530" y="516428"/>
                </a:lnTo>
                <a:close/>
                <a:moveTo>
                  <a:pt x="552377" y="594568"/>
                </a:moveTo>
                <a:cubicBezTo>
                  <a:pt x="525779" y="594568"/>
                  <a:pt x="505825" y="572953"/>
                  <a:pt x="505825" y="548016"/>
                </a:cubicBezTo>
                <a:cubicBezTo>
                  <a:pt x="505825" y="523078"/>
                  <a:pt x="527439" y="501464"/>
                  <a:pt x="552377" y="501464"/>
                </a:cubicBezTo>
                <a:cubicBezTo>
                  <a:pt x="578974" y="501464"/>
                  <a:pt x="598929" y="523078"/>
                  <a:pt x="598929" y="548016"/>
                </a:cubicBezTo>
                <a:cubicBezTo>
                  <a:pt x="598929" y="572953"/>
                  <a:pt x="578974" y="594568"/>
                  <a:pt x="552377" y="594568"/>
                </a:cubicBezTo>
                <a:close/>
                <a:moveTo>
                  <a:pt x="618876" y="504787"/>
                </a:moveTo>
                <a:cubicBezTo>
                  <a:pt x="603912" y="483172"/>
                  <a:pt x="580636" y="468208"/>
                  <a:pt x="552377" y="468208"/>
                </a:cubicBezTo>
                <a:cubicBezTo>
                  <a:pt x="509148" y="468208"/>
                  <a:pt x="472575" y="503117"/>
                  <a:pt x="472575" y="548010"/>
                </a:cubicBezTo>
                <a:cubicBezTo>
                  <a:pt x="472575" y="553001"/>
                  <a:pt x="472575" y="556322"/>
                  <a:pt x="474237" y="561312"/>
                </a:cubicBezTo>
                <a:lnTo>
                  <a:pt x="419373" y="582927"/>
                </a:lnTo>
                <a:lnTo>
                  <a:pt x="316297" y="316915"/>
                </a:lnTo>
                <a:lnTo>
                  <a:pt x="768513" y="142350"/>
                </a:lnTo>
                <a:lnTo>
                  <a:pt x="871589" y="408361"/>
                </a:lnTo>
                <a:close/>
                <a:moveTo>
                  <a:pt x="921470" y="449923"/>
                </a:moveTo>
                <a:lnTo>
                  <a:pt x="778493" y="75848"/>
                </a:lnTo>
                <a:lnTo>
                  <a:pt x="878247" y="37608"/>
                </a:lnTo>
                <a:lnTo>
                  <a:pt x="1022884" y="411683"/>
                </a:lnTo>
                <a:close/>
              </a:path>
            </a:pathLst>
          </a:custGeom>
          <a:solidFill>
            <a:schemeClr val="bg1"/>
          </a:solidFill>
          <a:ln w="1959" cap="flat">
            <a:noFill/>
            <a:prstDash val="solid"/>
            <a:miter/>
          </a:ln>
        </p:spPr>
        <p:txBody>
          <a:bodyPr rtlCol="0" anchor="ctr"/>
          <a:lstStyle/>
          <a:p>
            <a:endParaRPr lang="de-CH"/>
          </a:p>
        </p:txBody>
      </p:sp>
      <p:sp>
        <p:nvSpPr>
          <p:cNvPr id="136" name="Freihandform: Form 135">
            <a:extLst>
              <a:ext uri="{FF2B5EF4-FFF2-40B4-BE49-F238E27FC236}">
                <a16:creationId xmlns:a16="http://schemas.microsoft.com/office/drawing/2014/main" id="{1D378C39-D9DB-ACAB-301B-24ED3B905871}"/>
              </a:ext>
            </a:extLst>
          </p:cNvPr>
          <p:cNvSpPr/>
          <p:nvPr/>
        </p:nvSpPr>
        <p:spPr>
          <a:xfrm>
            <a:off x="2338211" y="1853680"/>
            <a:ext cx="1097288" cy="1058479"/>
          </a:xfrm>
          <a:custGeom>
            <a:avLst/>
            <a:gdLst>
              <a:gd name="connsiteX0" fmla="*/ 714968 w 1097288"/>
              <a:gd name="connsiteY0" fmla="*/ 989240 h 1058479"/>
              <a:gd name="connsiteX1" fmla="*/ 698704 w 1097288"/>
              <a:gd name="connsiteY1" fmla="*/ 1005520 h 1058479"/>
              <a:gd name="connsiteX2" fmla="*/ 714968 w 1097288"/>
              <a:gd name="connsiteY2" fmla="*/ 1021785 h 1058479"/>
              <a:gd name="connsiteX3" fmla="*/ 731249 w 1097288"/>
              <a:gd name="connsiteY3" fmla="*/ 1005520 h 1058479"/>
              <a:gd name="connsiteX4" fmla="*/ 714968 w 1097288"/>
              <a:gd name="connsiteY4" fmla="*/ 989240 h 1058479"/>
              <a:gd name="connsiteX5" fmla="*/ 714968 w 1097288"/>
              <a:gd name="connsiteY5" fmla="*/ 952548 h 1058479"/>
              <a:gd name="connsiteX6" fmla="*/ 767942 w 1097288"/>
              <a:gd name="connsiteY6" fmla="*/ 1005521 h 1058479"/>
              <a:gd name="connsiteX7" fmla="*/ 714968 w 1097288"/>
              <a:gd name="connsiteY7" fmla="*/ 1058479 h 1058479"/>
              <a:gd name="connsiteX8" fmla="*/ 662011 w 1097288"/>
              <a:gd name="connsiteY8" fmla="*/ 1005521 h 1058479"/>
              <a:gd name="connsiteX9" fmla="*/ 714968 w 1097288"/>
              <a:gd name="connsiteY9" fmla="*/ 952548 h 1058479"/>
              <a:gd name="connsiteX10" fmla="*/ 179416 w 1097288"/>
              <a:gd name="connsiteY10" fmla="*/ 821829 h 1058479"/>
              <a:gd name="connsiteX11" fmla="*/ 215497 w 1097288"/>
              <a:gd name="connsiteY11" fmla="*/ 828580 h 1058479"/>
              <a:gd name="connsiteX12" fmla="*/ 212566 w 1097288"/>
              <a:gd name="connsiteY12" fmla="*/ 857192 h 1058479"/>
              <a:gd name="connsiteX13" fmla="*/ 212635 w 1097288"/>
              <a:gd name="connsiteY13" fmla="*/ 860804 h 1058479"/>
              <a:gd name="connsiteX14" fmla="*/ 175949 w 1097288"/>
              <a:gd name="connsiteY14" fmla="*/ 862067 h 1058479"/>
              <a:gd name="connsiteX15" fmla="*/ 175865 w 1097288"/>
              <a:gd name="connsiteY15" fmla="*/ 857191 h 1058479"/>
              <a:gd name="connsiteX16" fmla="*/ 179416 w 1097288"/>
              <a:gd name="connsiteY16" fmla="*/ 821829 h 1058479"/>
              <a:gd name="connsiteX17" fmla="*/ 202341 w 1097288"/>
              <a:gd name="connsiteY17" fmla="*/ 748688 h 1058479"/>
              <a:gd name="connsiteX18" fmla="*/ 236217 w 1097288"/>
              <a:gd name="connsiteY18" fmla="*/ 762817 h 1058479"/>
              <a:gd name="connsiteX19" fmla="*/ 224055 w 1097288"/>
              <a:gd name="connsiteY19" fmla="*/ 795545 h 1058479"/>
              <a:gd name="connsiteX20" fmla="*/ 224055 w 1097288"/>
              <a:gd name="connsiteY20" fmla="*/ 795546 h 1058479"/>
              <a:gd name="connsiteX21" fmla="*/ 189115 w 1097288"/>
              <a:gd name="connsiteY21" fmla="*/ 784302 h 1058479"/>
              <a:gd name="connsiteX22" fmla="*/ 202341 w 1097288"/>
              <a:gd name="connsiteY22" fmla="*/ 748688 h 1058479"/>
              <a:gd name="connsiteX23" fmla="*/ 235209 w 1097288"/>
              <a:gd name="connsiteY23" fmla="*/ 681348 h 1058479"/>
              <a:gd name="connsiteX24" fmla="*/ 267339 w 1097288"/>
              <a:gd name="connsiteY24" fmla="*/ 699090 h 1058479"/>
              <a:gd name="connsiteX25" fmla="*/ 250860 w 1097288"/>
              <a:gd name="connsiteY25" fmla="*/ 730633 h 1058479"/>
              <a:gd name="connsiteX26" fmla="*/ 250860 w 1097288"/>
              <a:gd name="connsiteY26" fmla="*/ 730632 h 1058479"/>
              <a:gd name="connsiteX27" fmla="*/ 217918 w 1097288"/>
              <a:gd name="connsiteY27" fmla="*/ 714467 h 1058479"/>
              <a:gd name="connsiteX28" fmla="*/ 235209 w 1097288"/>
              <a:gd name="connsiteY28" fmla="*/ 681348 h 1058479"/>
              <a:gd name="connsiteX29" fmla="*/ 980595 w 1097288"/>
              <a:gd name="connsiteY29" fmla="*/ 385621 h 1058479"/>
              <a:gd name="connsiteX30" fmla="*/ 924713 w 1097288"/>
              <a:gd name="connsiteY30" fmla="*/ 461634 h 1058479"/>
              <a:gd name="connsiteX31" fmla="*/ 776387 w 1097288"/>
              <a:gd name="connsiteY31" fmla="*/ 628147 h 1058479"/>
              <a:gd name="connsiteX32" fmla="*/ 641448 w 1097288"/>
              <a:gd name="connsiteY32" fmla="*/ 750986 h 1058479"/>
              <a:gd name="connsiteX33" fmla="*/ 532226 w 1097288"/>
              <a:gd name="connsiteY33" fmla="*/ 831888 h 1058479"/>
              <a:gd name="connsiteX34" fmla="*/ 563737 w 1097288"/>
              <a:gd name="connsiteY34" fmla="*/ 841690 h 1058479"/>
              <a:gd name="connsiteX35" fmla="*/ 636376 w 1097288"/>
              <a:gd name="connsiteY35" fmla="*/ 849035 h 1058479"/>
              <a:gd name="connsiteX36" fmla="*/ 997244 w 1097288"/>
              <a:gd name="connsiteY36" fmla="*/ 488167 h 1058479"/>
              <a:gd name="connsiteX37" fmla="*/ 989900 w 1097288"/>
              <a:gd name="connsiteY37" fmla="*/ 415532 h 1058479"/>
              <a:gd name="connsiteX38" fmla="*/ 52957 w 1097288"/>
              <a:gd name="connsiteY38" fmla="*/ 356266 h 1058479"/>
              <a:gd name="connsiteX39" fmla="*/ 36693 w 1097288"/>
              <a:gd name="connsiteY39" fmla="*/ 372546 h 1058479"/>
              <a:gd name="connsiteX40" fmla="*/ 52957 w 1097288"/>
              <a:gd name="connsiteY40" fmla="*/ 388811 h 1058479"/>
              <a:gd name="connsiteX41" fmla="*/ 69222 w 1097288"/>
              <a:gd name="connsiteY41" fmla="*/ 372546 h 1058479"/>
              <a:gd name="connsiteX42" fmla="*/ 52957 w 1097288"/>
              <a:gd name="connsiteY42" fmla="*/ 356266 h 1058479"/>
              <a:gd name="connsiteX43" fmla="*/ 52957 w 1097288"/>
              <a:gd name="connsiteY43" fmla="*/ 319574 h 1058479"/>
              <a:gd name="connsiteX44" fmla="*/ 105915 w 1097288"/>
              <a:gd name="connsiteY44" fmla="*/ 372547 h 1058479"/>
              <a:gd name="connsiteX45" fmla="*/ 52957 w 1097288"/>
              <a:gd name="connsiteY45" fmla="*/ 425505 h 1058479"/>
              <a:gd name="connsiteX46" fmla="*/ 0 w 1097288"/>
              <a:gd name="connsiteY46" fmla="*/ 372547 h 1058479"/>
              <a:gd name="connsiteX47" fmla="*/ 52957 w 1097288"/>
              <a:gd name="connsiteY47" fmla="*/ 319574 h 1058479"/>
              <a:gd name="connsiteX48" fmla="*/ 470281 w 1097288"/>
              <a:gd name="connsiteY48" fmla="*/ 228445 h 1058479"/>
              <a:gd name="connsiteX49" fmla="*/ 490097 w 1097288"/>
              <a:gd name="connsiteY49" fmla="*/ 259345 h 1058479"/>
              <a:gd name="connsiteX50" fmla="*/ 364701 w 1097288"/>
              <a:gd name="connsiteY50" fmla="*/ 488148 h 1058479"/>
              <a:gd name="connsiteX51" fmla="*/ 328001 w 1097288"/>
              <a:gd name="connsiteY51" fmla="*/ 488148 h 1058479"/>
              <a:gd name="connsiteX52" fmla="*/ 470281 w 1097288"/>
              <a:gd name="connsiteY52" fmla="*/ 228445 h 1058479"/>
              <a:gd name="connsiteX53" fmla="*/ 636327 w 1097288"/>
              <a:gd name="connsiteY53" fmla="*/ 179827 h 1058479"/>
              <a:gd name="connsiteX54" fmla="*/ 636334 w 1097288"/>
              <a:gd name="connsiteY54" fmla="*/ 216513 h 1058479"/>
              <a:gd name="connsiteX55" fmla="*/ 534191 w 1097288"/>
              <a:gd name="connsiteY55" fmla="*/ 236498 h 1058479"/>
              <a:gd name="connsiteX56" fmla="*/ 520307 w 1097288"/>
              <a:gd name="connsiteY56" fmla="*/ 202529 h 1058479"/>
              <a:gd name="connsiteX57" fmla="*/ 636327 w 1097288"/>
              <a:gd name="connsiteY57" fmla="*/ 179827 h 1058479"/>
              <a:gd name="connsiteX58" fmla="*/ 636376 w 1097288"/>
              <a:gd name="connsiteY58" fmla="*/ 127300 h 1058479"/>
              <a:gd name="connsiteX59" fmla="*/ 275508 w 1097288"/>
              <a:gd name="connsiteY59" fmla="*/ 488167 h 1058479"/>
              <a:gd name="connsiteX60" fmla="*/ 434746 w 1097288"/>
              <a:gd name="connsiteY60" fmla="*/ 787319 h 1058479"/>
              <a:gd name="connsiteX61" fmla="*/ 490510 w 1097288"/>
              <a:gd name="connsiteY61" fmla="*/ 817625 h 1058479"/>
              <a:gd name="connsiteX62" fmla="*/ 492410 w 1097288"/>
              <a:gd name="connsiteY62" fmla="*/ 816485 h 1058479"/>
              <a:gd name="connsiteX63" fmla="*/ 750420 w 1097288"/>
              <a:gd name="connsiteY63" fmla="*/ 602208 h 1058479"/>
              <a:gd name="connsiteX64" fmla="*/ 964699 w 1097288"/>
              <a:gd name="connsiteY64" fmla="*/ 344184 h 1058479"/>
              <a:gd name="connsiteX65" fmla="*/ 965831 w 1097288"/>
              <a:gd name="connsiteY65" fmla="*/ 342298 h 1058479"/>
              <a:gd name="connsiteX66" fmla="*/ 935530 w 1097288"/>
              <a:gd name="connsiteY66" fmla="*/ 286545 h 1058479"/>
              <a:gd name="connsiteX67" fmla="*/ 636376 w 1097288"/>
              <a:gd name="connsiteY67" fmla="*/ 127300 h 1058479"/>
              <a:gd name="connsiteX68" fmla="*/ 862590 w 1097288"/>
              <a:gd name="connsiteY68" fmla="*/ 69738 h 1058479"/>
              <a:gd name="connsiteX69" fmla="*/ 878763 w 1097288"/>
              <a:gd name="connsiteY69" fmla="*/ 102680 h 1058479"/>
              <a:gd name="connsiteX70" fmla="*/ 847212 w 1097288"/>
              <a:gd name="connsiteY70" fmla="*/ 119151 h 1058479"/>
              <a:gd name="connsiteX71" fmla="*/ 847212 w 1097288"/>
              <a:gd name="connsiteY71" fmla="*/ 119153 h 1058479"/>
              <a:gd name="connsiteX72" fmla="*/ 829485 w 1097288"/>
              <a:gd name="connsiteY72" fmla="*/ 87028 h 1058479"/>
              <a:gd name="connsiteX73" fmla="*/ 862590 w 1097288"/>
              <a:gd name="connsiteY73" fmla="*/ 69738 h 1058479"/>
              <a:gd name="connsiteX74" fmla="*/ 932418 w 1097288"/>
              <a:gd name="connsiteY74" fmla="*/ 40937 h 1058479"/>
              <a:gd name="connsiteX75" fmla="*/ 943654 w 1097288"/>
              <a:gd name="connsiteY75" fmla="*/ 75869 h 1058479"/>
              <a:gd name="connsiteX76" fmla="*/ 910934 w 1097288"/>
              <a:gd name="connsiteY76" fmla="*/ 88039 h 1058479"/>
              <a:gd name="connsiteX77" fmla="*/ 910933 w 1097288"/>
              <a:gd name="connsiteY77" fmla="*/ 88039 h 1058479"/>
              <a:gd name="connsiteX78" fmla="*/ 896788 w 1097288"/>
              <a:gd name="connsiteY78" fmla="*/ 54163 h 1058479"/>
              <a:gd name="connsiteX79" fmla="*/ 932418 w 1097288"/>
              <a:gd name="connsiteY79" fmla="*/ 40937 h 1058479"/>
              <a:gd name="connsiteX80" fmla="*/ 1053150 w 1097288"/>
              <a:gd name="connsiteY80" fmla="*/ 37743 h 1058479"/>
              <a:gd name="connsiteX81" fmla="*/ 1072737 w 1097288"/>
              <a:gd name="connsiteY81" fmla="*/ 51803 h 1058479"/>
              <a:gd name="connsiteX82" fmla="*/ 1053632 w 1097288"/>
              <a:gd name="connsiteY82" fmla="*/ 70920 h 1058479"/>
              <a:gd name="connsiteX83" fmla="*/ 1072750 w 1097288"/>
              <a:gd name="connsiteY83" fmla="*/ 51801 h 1058479"/>
              <a:gd name="connsiteX84" fmla="*/ 1037981 w 1097288"/>
              <a:gd name="connsiteY84" fmla="*/ 294739 h 1058479"/>
              <a:gd name="connsiteX85" fmla="*/ 1006394 w 1097288"/>
              <a:gd name="connsiteY85" fmla="*/ 345663 h 1058479"/>
              <a:gd name="connsiteX86" fmla="*/ 1025834 w 1097288"/>
              <a:gd name="connsiteY86" fmla="*/ 408164 h 1058479"/>
              <a:gd name="connsiteX87" fmla="*/ 1033925 w 1097288"/>
              <a:gd name="connsiteY87" fmla="*/ 488187 h 1058479"/>
              <a:gd name="connsiteX88" fmla="*/ 636376 w 1097288"/>
              <a:gd name="connsiteY88" fmla="*/ 885755 h 1058479"/>
              <a:gd name="connsiteX89" fmla="*/ 636376 w 1097288"/>
              <a:gd name="connsiteY89" fmla="*/ 885736 h 1058479"/>
              <a:gd name="connsiteX90" fmla="*/ 556352 w 1097288"/>
              <a:gd name="connsiteY90" fmla="*/ 877644 h 1058479"/>
              <a:gd name="connsiteX91" fmla="*/ 494684 w 1097288"/>
              <a:gd name="connsiteY91" fmla="*/ 858461 h 1058479"/>
              <a:gd name="connsiteX92" fmla="*/ 437148 w 1097288"/>
              <a:gd name="connsiteY92" fmla="*/ 892951 h 1058479"/>
              <a:gd name="connsiteX93" fmla="*/ 267876 w 1097288"/>
              <a:gd name="connsiteY93" fmla="*/ 949063 h 1058479"/>
              <a:gd name="connsiteX94" fmla="*/ 267866 w 1097288"/>
              <a:gd name="connsiteY94" fmla="*/ 949065 h 1058479"/>
              <a:gd name="connsiteX95" fmla="*/ 229812 w 1097288"/>
              <a:gd name="connsiteY95" fmla="*/ 943112 h 1058479"/>
              <a:gd name="connsiteX96" fmla="*/ 200020 w 1097288"/>
              <a:gd name="connsiteY96" fmla="*/ 924523 h 1058479"/>
              <a:gd name="connsiteX97" fmla="*/ 200011 w 1097288"/>
              <a:gd name="connsiteY97" fmla="*/ 924532 h 1058479"/>
              <a:gd name="connsiteX98" fmla="*/ 185951 w 1097288"/>
              <a:gd name="connsiteY98" fmla="*/ 904938 h 1058479"/>
              <a:gd name="connsiteX99" fmla="*/ 218756 w 1097288"/>
              <a:gd name="connsiteY99" fmla="*/ 888497 h 1058479"/>
              <a:gd name="connsiteX100" fmla="*/ 225953 w 1097288"/>
              <a:gd name="connsiteY100" fmla="*/ 898579 h 1058479"/>
              <a:gd name="connsiteX101" fmla="*/ 225960 w 1097288"/>
              <a:gd name="connsiteY101" fmla="*/ 898572 h 1058479"/>
              <a:gd name="connsiteX102" fmla="*/ 417718 w 1097288"/>
              <a:gd name="connsiteY102" fmla="*/ 861314 h 1058479"/>
              <a:gd name="connsiteX103" fmla="*/ 454164 w 1097288"/>
              <a:gd name="connsiteY103" fmla="*/ 839440 h 1058479"/>
              <a:gd name="connsiteX104" fmla="*/ 414246 w 1097288"/>
              <a:gd name="connsiteY104" fmla="*/ 817746 h 1058479"/>
              <a:gd name="connsiteX105" fmla="*/ 238808 w 1097288"/>
              <a:gd name="connsiteY105" fmla="*/ 488187 h 1058479"/>
              <a:gd name="connsiteX106" fmla="*/ 636376 w 1097288"/>
              <a:gd name="connsiteY106" fmla="*/ 90619 h 1058479"/>
              <a:gd name="connsiteX107" fmla="*/ 965941 w 1097288"/>
              <a:gd name="connsiteY107" fmla="*/ 266057 h 1058479"/>
              <a:gd name="connsiteX108" fmla="*/ 987632 w 1097288"/>
              <a:gd name="connsiteY108" fmla="*/ 305973 h 1058479"/>
              <a:gd name="connsiteX109" fmla="*/ 1009528 w 1097288"/>
              <a:gd name="connsiteY109" fmla="*/ 269490 h 1058479"/>
              <a:gd name="connsiteX110" fmla="*/ 1059470 w 1097288"/>
              <a:gd name="connsiteY110" fmla="*/ 105844 h 1058479"/>
              <a:gd name="connsiteX111" fmla="*/ 1046805 w 1097288"/>
              <a:gd name="connsiteY111" fmla="*/ 77751 h 1058479"/>
              <a:gd name="connsiteX112" fmla="*/ 1046798 w 1097288"/>
              <a:gd name="connsiteY112" fmla="*/ 77758 h 1058479"/>
              <a:gd name="connsiteX113" fmla="*/ 1036679 w 1097288"/>
              <a:gd name="connsiteY113" fmla="*/ 70540 h 1058479"/>
              <a:gd name="connsiteX114" fmla="*/ 270667 w 1097288"/>
              <a:gd name="connsiteY114" fmla="*/ 36700 h 1058479"/>
              <a:gd name="connsiteX115" fmla="*/ 231326 w 1097288"/>
              <a:gd name="connsiteY115" fmla="*/ 76042 h 1058479"/>
              <a:gd name="connsiteX116" fmla="*/ 270667 w 1097288"/>
              <a:gd name="connsiteY116" fmla="*/ 115391 h 1058479"/>
              <a:gd name="connsiteX117" fmla="*/ 310025 w 1097288"/>
              <a:gd name="connsiteY117" fmla="*/ 76042 h 1058479"/>
              <a:gd name="connsiteX118" fmla="*/ 270667 w 1097288"/>
              <a:gd name="connsiteY118" fmla="*/ 36700 h 1058479"/>
              <a:gd name="connsiteX119" fmla="*/ 1005353 w 1097288"/>
              <a:gd name="connsiteY119" fmla="*/ 27657 h 1058479"/>
              <a:gd name="connsiteX120" fmla="*/ 1010137 w 1097288"/>
              <a:gd name="connsiteY120" fmla="*/ 27741 h 1058479"/>
              <a:gd name="connsiteX121" fmla="*/ 1008958 w 1097288"/>
              <a:gd name="connsiteY121" fmla="*/ 64428 h 1058479"/>
              <a:gd name="connsiteX122" fmla="*/ 1005361 w 1097288"/>
              <a:gd name="connsiteY122" fmla="*/ 64359 h 1058479"/>
              <a:gd name="connsiteX123" fmla="*/ 976689 w 1097288"/>
              <a:gd name="connsiteY123" fmla="*/ 67305 h 1058479"/>
              <a:gd name="connsiteX124" fmla="*/ 969931 w 1097288"/>
              <a:gd name="connsiteY124" fmla="*/ 31224 h 1058479"/>
              <a:gd name="connsiteX125" fmla="*/ 1005353 w 1097288"/>
              <a:gd name="connsiteY125" fmla="*/ 27657 h 1058479"/>
              <a:gd name="connsiteX126" fmla="*/ 270667 w 1097288"/>
              <a:gd name="connsiteY126" fmla="*/ 0 h 1058479"/>
              <a:gd name="connsiteX127" fmla="*/ 346725 w 1097288"/>
              <a:gd name="connsiteY127" fmla="*/ 76043 h 1058479"/>
              <a:gd name="connsiteX128" fmla="*/ 270667 w 1097288"/>
              <a:gd name="connsiteY128" fmla="*/ 152093 h 1058479"/>
              <a:gd name="connsiteX129" fmla="*/ 194624 w 1097288"/>
              <a:gd name="connsiteY129" fmla="*/ 76043 h 1058479"/>
              <a:gd name="connsiteX130" fmla="*/ 270667 w 1097288"/>
              <a:gd name="connsiteY130" fmla="*/ 0 h 10584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</a:cxnLst>
            <a:rect l="l" t="t" r="r" b="b"/>
            <a:pathLst>
              <a:path w="1097288" h="1058479">
                <a:moveTo>
                  <a:pt x="714968" y="989240"/>
                </a:moveTo>
                <a:cubicBezTo>
                  <a:pt x="705998" y="989240"/>
                  <a:pt x="698704" y="996542"/>
                  <a:pt x="698704" y="1005520"/>
                </a:cubicBezTo>
                <a:cubicBezTo>
                  <a:pt x="698704" y="1014491"/>
                  <a:pt x="705998" y="1021785"/>
                  <a:pt x="714968" y="1021785"/>
                </a:cubicBezTo>
                <a:cubicBezTo>
                  <a:pt x="723947" y="1021785"/>
                  <a:pt x="731249" y="1014491"/>
                  <a:pt x="731249" y="1005520"/>
                </a:cubicBezTo>
                <a:cubicBezTo>
                  <a:pt x="731241" y="996542"/>
                  <a:pt x="723947" y="989240"/>
                  <a:pt x="714968" y="989240"/>
                </a:cubicBezTo>
                <a:close/>
                <a:moveTo>
                  <a:pt x="714968" y="952548"/>
                </a:moveTo>
                <a:cubicBezTo>
                  <a:pt x="744176" y="952548"/>
                  <a:pt x="767942" y="976314"/>
                  <a:pt x="767942" y="1005521"/>
                </a:cubicBezTo>
                <a:cubicBezTo>
                  <a:pt x="767942" y="1034721"/>
                  <a:pt x="744184" y="1058479"/>
                  <a:pt x="714968" y="1058479"/>
                </a:cubicBezTo>
                <a:cubicBezTo>
                  <a:pt x="685769" y="1058479"/>
                  <a:pt x="662011" y="1034721"/>
                  <a:pt x="662011" y="1005521"/>
                </a:cubicBezTo>
                <a:cubicBezTo>
                  <a:pt x="662011" y="976314"/>
                  <a:pt x="685769" y="952548"/>
                  <a:pt x="714968" y="952548"/>
                </a:cubicBezTo>
                <a:close/>
                <a:moveTo>
                  <a:pt x="179416" y="821829"/>
                </a:moveTo>
                <a:lnTo>
                  <a:pt x="215497" y="828580"/>
                </a:lnTo>
                <a:cubicBezTo>
                  <a:pt x="213553" y="838936"/>
                  <a:pt x="212566" y="848572"/>
                  <a:pt x="212566" y="857192"/>
                </a:cubicBezTo>
                <a:cubicBezTo>
                  <a:pt x="212566" y="858416"/>
                  <a:pt x="212581" y="859625"/>
                  <a:pt x="212635" y="860804"/>
                </a:cubicBezTo>
                <a:lnTo>
                  <a:pt x="175949" y="862067"/>
                </a:lnTo>
                <a:cubicBezTo>
                  <a:pt x="175903" y="860467"/>
                  <a:pt x="175865" y="858844"/>
                  <a:pt x="175865" y="857191"/>
                </a:cubicBezTo>
                <a:cubicBezTo>
                  <a:pt x="175865" y="846315"/>
                  <a:pt x="177059" y="834413"/>
                  <a:pt x="179416" y="821829"/>
                </a:cubicBezTo>
                <a:close/>
                <a:moveTo>
                  <a:pt x="202341" y="748688"/>
                </a:moveTo>
                <a:lnTo>
                  <a:pt x="236217" y="762817"/>
                </a:lnTo>
                <a:cubicBezTo>
                  <a:pt x="231479" y="774160"/>
                  <a:pt x="227392" y="785166"/>
                  <a:pt x="224055" y="795545"/>
                </a:cubicBezTo>
                <a:lnTo>
                  <a:pt x="224055" y="795546"/>
                </a:lnTo>
                <a:lnTo>
                  <a:pt x="189115" y="784302"/>
                </a:lnTo>
                <a:cubicBezTo>
                  <a:pt x="192773" y="772959"/>
                  <a:pt x="197220" y="760965"/>
                  <a:pt x="202341" y="748688"/>
                </a:cubicBezTo>
                <a:close/>
                <a:moveTo>
                  <a:pt x="235209" y="681348"/>
                </a:moveTo>
                <a:lnTo>
                  <a:pt x="267339" y="699090"/>
                </a:lnTo>
                <a:cubicBezTo>
                  <a:pt x="261423" y="709798"/>
                  <a:pt x="255881" y="720415"/>
                  <a:pt x="250860" y="730633"/>
                </a:cubicBezTo>
                <a:lnTo>
                  <a:pt x="250860" y="730632"/>
                </a:lnTo>
                <a:lnTo>
                  <a:pt x="217918" y="714467"/>
                </a:lnTo>
                <a:cubicBezTo>
                  <a:pt x="223199" y="703713"/>
                  <a:pt x="229009" y="692576"/>
                  <a:pt x="235209" y="681348"/>
                </a:cubicBezTo>
                <a:close/>
                <a:moveTo>
                  <a:pt x="980595" y="385621"/>
                </a:moveTo>
                <a:lnTo>
                  <a:pt x="924713" y="461634"/>
                </a:lnTo>
                <a:cubicBezTo>
                  <a:pt x="879911" y="518480"/>
                  <a:pt x="829267" y="575262"/>
                  <a:pt x="776387" y="628147"/>
                </a:cubicBezTo>
                <a:cubicBezTo>
                  <a:pt x="733303" y="671227"/>
                  <a:pt x="687632" y="712824"/>
                  <a:pt x="641448" y="750986"/>
                </a:cubicBezTo>
                <a:lnTo>
                  <a:pt x="532226" y="831888"/>
                </a:lnTo>
                <a:lnTo>
                  <a:pt x="563737" y="841690"/>
                </a:lnTo>
                <a:cubicBezTo>
                  <a:pt x="587207" y="846505"/>
                  <a:pt x="611502" y="849035"/>
                  <a:pt x="636376" y="849035"/>
                </a:cubicBezTo>
                <a:cubicBezTo>
                  <a:pt x="835356" y="849035"/>
                  <a:pt x="997244" y="687145"/>
                  <a:pt x="997244" y="488167"/>
                </a:cubicBezTo>
                <a:cubicBezTo>
                  <a:pt x="997244" y="463295"/>
                  <a:pt x="994715" y="439002"/>
                  <a:pt x="989900" y="415532"/>
                </a:cubicBezTo>
                <a:close/>
                <a:moveTo>
                  <a:pt x="52957" y="356266"/>
                </a:moveTo>
                <a:cubicBezTo>
                  <a:pt x="43995" y="356266"/>
                  <a:pt x="36693" y="363568"/>
                  <a:pt x="36693" y="372546"/>
                </a:cubicBezTo>
                <a:cubicBezTo>
                  <a:pt x="36693" y="381509"/>
                  <a:pt x="43987" y="388811"/>
                  <a:pt x="52957" y="388811"/>
                </a:cubicBezTo>
                <a:cubicBezTo>
                  <a:pt x="61928" y="388811"/>
                  <a:pt x="69222" y="381517"/>
                  <a:pt x="69222" y="372546"/>
                </a:cubicBezTo>
                <a:cubicBezTo>
                  <a:pt x="69222" y="363576"/>
                  <a:pt x="61928" y="356266"/>
                  <a:pt x="52957" y="356266"/>
                </a:cubicBezTo>
                <a:close/>
                <a:moveTo>
                  <a:pt x="52957" y="319574"/>
                </a:moveTo>
                <a:cubicBezTo>
                  <a:pt x="82165" y="319574"/>
                  <a:pt x="105915" y="343340"/>
                  <a:pt x="105915" y="372547"/>
                </a:cubicBezTo>
                <a:cubicBezTo>
                  <a:pt x="105915" y="401754"/>
                  <a:pt x="82165" y="425505"/>
                  <a:pt x="52957" y="425505"/>
                </a:cubicBezTo>
                <a:cubicBezTo>
                  <a:pt x="23750" y="425505"/>
                  <a:pt x="0" y="401747"/>
                  <a:pt x="0" y="372547"/>
                </a:cubicBezTo>
                <a:cubicBezTo>
                  <a:pt x="0" y="343332"/>
                  <a:pt x="23758" y="319574"/>
                  <a:pt x="52957" y="319574"/>
                </a:cubicBezTo>
                <a:close/>
                <a:moveTo>
                  <a:pt x="470281" y="228445"/>
                </a:moveTo>
                <a:lnTo>
                  <a:pt x="490097" y="259345"/>
                </a:lnTo>
                <a:cubicBezTo>
                  <a:pt x="411582" y="309693"/>
                  <a:pt x="364701" y="395241"/>
                  <a:pt x="364701" y="488148"/>
                </a:cubicBezTo>
                <a:lnTo>
                  <a:pt x="328001" y="488148"/>
                </a:lnTo>
                <a:cubicBezTo>
                  <a:pt x="328001" y="382676"/>
                  <a:pt x="381190" y="285582"/>
                  <a:pt x="470281" y="228445"/>
                </a:cubicBezTo>
                <a:close/>
                <a:moveTo>
                  <a:pt x="636327" y="179827"/>
                </a:moveTo>
                <a:lnTo>
                  <a:pt x="636334" y="216513"/>
                </a:lnTo>
                <a:cubicBezTo>
                  <a:pt x="601012" y="216513"/>
                  <a:pt x="566645" y="223241"/>
                  <a:pt x="534191" y="236498"/>
                </a:cubicBezTo>
                <a:lnTo>
                  <a:pt x="520307" y="202529"/>
                </a:lnTo>
                <a:cubicBezTo>
                  <a:pt x="557183" y="187466"/>
                  <a:pt x="596219" y="179827"/>
                  <a:pt x="636327" y="179827"/>
                </a:cubicBezTo>
                <a:close/>
                <a:moveTo>
                  <a:pt x="636376" y="127300"/>
                </a:moveTo>
                <a:cubicBezTo>
                  <a:pt x="437396" y="127300"/>
                  <a:pt x="275508" y="289189"/>
                  <a:pt x="275508" y="488167"/>
                </a:cubicBezTo>
                <a:cubicBezTo>
                  <a:pt x="275508" y="612528"/>
                  <a:pt x="338740" y="722402"/>
                  <a:pt x="434746" y="787319"/>
                </a:cubicBezTo>
                <a:lnTo>
                  <a:pt x="490510" y="817625"/>
                </a:lnTo>
                <a:lnTo>
                  <a:pt x="492410" y="816485"/>
                </a:lnTo>
                <a:cubicBezTo>
                  <a:pt x="570877" y="764836"/>
                  <a:pt x="659718" y="692900"/>
                  <a:pt x="750420" y="602208"/>
                </a:cubicBezTo>
                <a:cubicBezTo>
                  <a:pt x="841115" y="511499"/>
                  <a:pt x="913051" y="422652"/>
                  <a:pt x="964699" y="344184"/>
                </a:cubicBezTo>
                <a:lnTo>
                  <a:pt x="965831" y="342298"/>
                </a:lnTo>
                <a:lnTo>
                  <a:pt x="935530" y="286545"/>
                </a:lnTo>
                <a:cubicBezTo>
                  <a:pt x="870615" y="190538"/>
                  <a:pt x="760742" y="127300"/>
                  <a:pt x="636376" y="127300"/>
                </a:cubicBezTo>
                <a:close/>
                <a:moveTo>
                  <a:pt x="862590" y="69738"/>
                </a:moveTo>
                <a:lnTo>
                  <a:pt x="878763" y="102680"/>
                </a:lnTo>
                <a:cubicBezTo>
                  <a:pt x="868583" y="107678"/>
                  <a:pt x="857968" y="113219"/>
                  <a:pt x="847212" y="119151"/>
                </a:cubicBezTo>
                <a:lnTo>
                  <a:pt x="847212" y="119153"/>
                </a:lnTo>
                <a:lnTo>
                  <a:pt x="829485" y="87028"/>
                </a:lnTo>
                <a:cubicBezTo>
                  <a:pt x="840745" y="80806"/>
                  <a:pt x="851897" y="74996"/>
                  <a:pt x="862590" y="69738"/>
                </a:cubicBezTo>
                <a:close/>
                <a:moveTo>
                  <a:pt x="932418" y="40937"/>
                </a:moveTo>
                <a:lnTo>
                  <a:pt x="943654" y="75869"/>
                </a:lnTo>
                <a:cubicBezTo>
                  <a:pt x="933329" y="79191"/>
                  <a:pt x="922307" y="83286"/>
                  <a:pt x="910934" y="88039"/>
                </a:cubicBezTo>
                <a:lnTo>
                  <a:pt x="910933" y="88039"/>
                </a:lnTo>
                <a:lnTo>
                  <a:pt x="896788" y="54163"/>
                </a:lnTo>
                <a:cubicBezTo>
                  <a:pt x="909119" y="49019"/>
                  <a:pt x="921112" y="44572"/>
                  <a:pt x="932418" y="40937"/>
                </a:cubicBezTo>
                <a:close/>
                <a:moveTo>
                  <a:pt x="1053150" y="37743"/>
                </a:moveTo>
                <a:cubicBezTo>
                  <a:pt x="1060506" y="41432"/>
                  <a:pt x="1067104" y="46170"/>
                  <a:pt x="1072737" y="51803"/>
                </a:cubicBezTo>
                <a:lnTo>
                  <a:pt x="1053632" y="70920"/>
                </a:lnTo>
                <a:lnTo>
                  <a:pt x="1072750" y="51801"/>
                </a:lnTo>
                <a:cubicBezTo>
                  <a:pt x="1118207" y="97258"/>
                  <a:pt x="1096996" y="188460"/>
                  <a:pt x="1037981" y="294739"/>
                </a:cubicBezTo>
                <a:lnTo>
                  <a:pt x="1006394" y="345663"/>
                </a:lnTo>
                <a:lnTo>
                  <a:pt x="1025834" y="408164"/>
                </a:lnTo>
                <a:cubicBezTo>
                  <a:pt x="1031139" y="434021"/>
                  <a:pt x="1033925" y="460784"/>
                  <a:pt x="1033925" y="488187"/>
                </a:cubicBezTo>
                <a:cubicBezTo>
                  <a:pt x="1033932" y="707408"/>
                  <a:pt x="855585" y="885755"/>
                  <a:pt x="636376" y="885755"/>
                </a:cubicBezTo>
                <a:lnTo>
                  <a:pt x="636376" y="885736"/>
                </a:lnTo>
                <a:cubicBezTo>
                  <a:pt x="608973" y="885736"/>
                  <a:pt x="582209" y="882949"/>
                  <a:pt x="556352" y="877644"/>
                </a:cubicBezTo>
                <a:lnTo>
                  <a:pt x="494684" y="858461"/>
                </a:lnTo>
                <a:lnTo>
                  <a:pt x="437148" y="892951"/>
                </a:lnTo>
                <a:cubicBezTo>
                  <a:pt x="372555" y="928158"/>
                  <a:pt x="313800" y="949055"/>
                  <a:pt x="267876" y="949063"/>
                </a:cubicBezTo>
                <a:lnTo>
                  <a:pt x="267866" y="949065"/>
                </a:lnTo>
                <a:cubicBezTo>
                  <a:pt x="253935" y="949065"/>
                  <a:pt x="241186" y="947142"/>
                  <a:pt x="229812" y="943112"/>
                </a:cubicBezTo>
                <a:lnTo>
                  <a:pt x="200020" y="924523"/>
                </a:lnTo>
                <a:lnTo>
                  <a:pt x="200011" y="924532"/>
                </a:lnTo>
                <a:cubicBezTo>
                  <a:pt x="194355" y="918883"/>
                  <a:pt x="189625" y="912278"/>
                  <a:pt x="185951" y="904938"/>
                </a:cubicBezTo>
                <a:lnTo>
                  <a:pt x="218756" y="888497"/>
                </a:lnTo>
                <a:lnTo>
                  <a:pt x="225953" y="898579"/>
                </a:lnTo>
                <a:lnTo>
                  <a:pt x="225960" y="898572"/>
                </a:lnTo>
                <a:cubicBezTo>
                  <a:pt x="252932" y="925548"/>
                  <a:pt x="323580" y="911919"/>
                  <a:pt x="417718" y="861314"/>
                </a:cubicBezTo>
                <a:lnTo>
                  <a:pt x="454164" y="839440"/>
                </a:lnTo>
                <a:lnTo>
                  <a:pt x="414246" y="817746"/>
                </a:lnTo>
                <a:cubicBezTo>
                  <a:pt x="308475" y="746230"/>
                  <a:pt x="238808" y="625188"/>
                  <a:pt x="238808" y="488187"/>
                </a:cubicBezTo>
                <a:cubicBezTo>
                  <a:pt x="238808" y="268966"/>
                  <a:pt x="417155" y="90619"/>
                  <a:pt x="636376" y="90619"/>
                </a:cubicBezTo>
                <a:cubicBezTo>
                  <a:pt x="773389" y="90619"/>
                  <a:pt x="894429" y="160286"/>
                  <a:pt x="965941" y="266057"/>
                </a:cubicBezTo>
                <a:lnTo>
                  <a:pt x="987632" y="305973"/>
                </a:lnTo>
                <a:lnTo>
                  <a:pt x="1009528" y="269490"/>
                </a:lnTo>
                <a:cubicBezTo>
                  <a:pt x="1047482" y="198886"/>
                  <a:pt x="1064638" y="141499"/>
                  <a:pt x="1059470" y="105844"/>
                </a:cubicBezTo>
                <a:lnTo>
                  <a:pt x="1046805" y="77751"/>
                </a:lnTo>
                <a:lnTo>
                  <a:pt x="1046798" y="77758"/>
                </a:lnTo>
                <a:cubicBezTo>
                  <a:pt x="1043897" y="74864"/>
                  <a:pt x="1040583" y="72499"/>
                  <a:pt x="1036679" y="70540"/>
                </a:cubicBezTo>
                <a:close/>
                <a:moveTo>
                  <a:pt x="270667" y="36700"/>
                </a:moveTo>
                <a:cubicBezTo>
                  <a:pt x="248977" y="36700"/>
                  <a:pt x="231326" y="54350"/>
                  <a:pt x="231326" y="76042"/>
                </a:cubicBezTo>
                <a:cubicBezTo>
                  <a:pt x="231326" y="97732"/>
                  <a:pt x="248976" y="115391"/>
                  <a:pt x="270667" y="115391"/>
                </a:cubicBezTo>
                <a:cubicBezTo>
                  <a:pt x="292374" y="115391"/>
                  <a:pt x="310025" y="97733"/>
                  <a:pt x="310025" y="76042"/>
                </a:cubicBezTo>
                <a:cubicBezTo>
                  <a:pt x="310025" y="54351"/>
                  <a:pt x="292367" y="36700"/>
                  <a:pt x="270667" y="36700"/>
                </a:cubicBezTo>
                <a:close/>
                <a:moveTo>
                  <a:pt x="1005353" y="27657"/>
                </a:moveTo>
                <a:cubicBezTo>
                  <a:pt x="1006846" y="27756"/>
                  <a:pt x="1008560" y="27688"/>
                  <a:pt x="1010137" y="27741"/>
                </a:cubicBezTo>
                <a:lnTo>
                  <a:pt x="1008958" y="64428"/>
                </a:lnTo>
                <a:cubicBezTo>
                  <a:pt x="1007780" y="64389"/>
                  <a:pt x="1006509" y="64328"/>
                  <a:pt x="1005361" y="64359"/>
                </a:cubicBezTo>
                <a:cubicBezTo>
                  <a:pt x="996743" y="64359"/>
                  <a:pt x="987099" y="65346"/>
                  <a:pt x="976689" y="67305"/>
                </a:cubicBezTo>
                <a:lnTo>
                  <a:pt x="969931" y="31224"/>
                </a:lnTo>
                <a:cubicBezTo>
                  <a:pt x="982552" y="28859"/>
                  <a:pt x="994484" y="27657"/>
                  <a:pt x="1005353" y="27657"/>
                </a:cubicBezTo>
                <a:close/>
                <a:moveTo>
                  <a:pt x="270667" y="0"/>
                </a:moveTo>
                <a:cubicBezTo>
                  <a:pt x="312603" y="0"/>
                  <a:pt x="346725" y="34106"/>
                  <a:pt x="346725" y="76043"/>
                </a:cubicBezTo>
                <a:cubicBezTo>
                  <a:pt x="346725" y="117979"/>
                  <a:pt x="312603" y="152093"/>
                  <a:pt x="270667" y="152093"/>
                </a:cubicBezTo>
                <a:cubicBezTo>
                  <a:pt x="228732" y="152093"/>
                  <a:pt x="194624" y="117987"/>
                  <a:pt x="194624" y="76043"/>
                </a:cubicBezTo>
                <a:cubicBezTo>
                  <a:pt x="194624" y="34108"/>
                  <a:pt x="228730" y="0"/>
                  <a:pt x="270667" y="0"/>
                </a:cubicBezTo>
                <a:close/>
              </a:path>
            </a:pathLst>
          </a:custGeom>
          <a:solidFill>
            <a:schemeClr val="bg1"/>
          </a:solidFill>
          <a:ln w="1959" cap="flat">
            <a:noFill/>
            <a:prstDash val="solid"/>
            <a:miter/>
          </a:ln>
        </p:spPr>
        <p:txBody>
          <a:bodyPr rtlCol="0" anchor="ctr"/>
          <a:lstStyle/>
          <a:p>
            <a:endParaRPr lang="de-CH"/>
          </a:p>
        </p:txBody>
      </p:sp>
      <p:sp>
        <p:nvSpPr>
          <p:cNvPr id="84" name="Freihandform: Form 83">
            <a:extLst>
              <a:ext uri="{FF2B5EF4-FFF2-40B4-BE49-F238E27FC236}">
                <a16:creationId xmlns:a16="http://schemas.microsoft.com/office/drawing/2014/main" id="{4CDB5C8B-0A71-2544-69F6-9532A09BDBD0}"/>
              </a:ext>
            </a:extLst>
          </p:cNvPr>
          <p:cNvSpPr>
            <a:spLocks/>
          </p:cNvSpPr>
          <p:nvPr/>
        </p:nvSpPr>
        <p:spPr>
          <a:xfrm>
            <a:off x="9173748" y="1806055"/>
            <a:ext cx="880238" cy="877824"/>
          </a:xfrm>
          <a:custGeom>
            <a:avLst/>
            <a:gdLst>
              <a:gd name="connsiteX0" fmla="*/ 137277 w 1100298"/>
              <a:gd name="connsiteY0" fmla="*/ 949441 h 1097280"/>
              <a:gd name="connsiteX1" fmla="*/ 477493 w 1100298"/>
              <a:gd name="connsiteY1" fmla="*/ 949441 h 1097280"/>
              <a:gd name="connsiteX2" fmla="*/ 494638 w 1100298"/>
              <a:gd name="connsiteY2" fmla="*/ 966586 h 1097280"/>
              <a:gd name="connsiteX3" fmla="*/ 477493 w 1100298"/>
              <a:gd name="connsiteY3" fmla="*/ 983731 h 1097280"/>
              <a:gd name="connsiteX4" fmla="*/ 137277 w 1100298"/>
              <a:gd name="connsiteY4" fmla="*/ 983731 h 1097280"/>
              <a:gd name="connsiteX5" fmla="*/ 120132 w 1100298"/>
              <a:gd name="connsiteY5" fmla="*/ 966586 h 1097280"/>
              <a:gd name="connsiteX6" fmla="*/ 137277 w 1100298"/>
              <a:gd name="connsiteY6" fmla="*/ 949441 h 1097280"/>
              <a:gd name="connsiteX7" fmla="*/ 653988 w 1100298"/>
              <a:gd name="connsiteY7" fmla="*/ 873023 h 1097280"/>
              <a:gd name="connsiteX8" fmla="*/ 708470 w 1100298"/>
              <a:gd name="connsiteY8" fmla="*/ 873023 h 1097280"/>
              <a:gd name="connsiteX9" fmla="*/ 725615 w 1100298"/>
              <a:gd name="connsiteY9" fmla="*/ 890168 h 1097280"/>
              <a:gd name="connsiteX10" fmla="*/ 708470 w 1100298"/>
              <a:gd name="connsiteY10" fmla="*/ 907313 h 1097280"/>
              <a:gd name="connsiteX11" fmla="*/ 653988 w 1100298"/>
              <a:gd name="connsiteY11" fmla="*/ 907313 h 1097280"/>
              <a:gd name="connsiteX12" fmla="*/ 636843 w 1100298"/>
              <a:gd name="connsiteY12" fmla="*/ 890168 h 1097280"/>
              <a:gd name="connsiteX13" fmla="*/ 653988 w 1100298"/>
              <a:gd name="connsiteY13" fmla="*/ 873023 h 1097280"/>
              <a:gd name="connsiteX14" fmla="*/ 1004677 w 1100298"/>
              <a:gd name="connsiteY14" fmla="*/ 821549 h 1097280"/>
              <a:gd name="connsiteX15" fmla="*/ 1021822 w 1100298"/>
              <a:gd name="connsiteY15" fmla="*/ 838694 h 1097280"/>
              <a:gd name="connsiteX16" fmla="*/ 1021822 w 1100298"/>
              <a:gd name="connsiteY16" fmla="*/ 941564 h 1097280"/>
              <a:gd name="connsiteX17" fmla="*/ 1004677 w 1100298"/>
              <a:gd name="connsiteY17" fmla="*/ 958709 h 1097280"/>
              <a:gd name="connsiteX18" fmla="*/ 987532 w 1100298"/>
              <a:gd name="connsiteY18" fmla="*/ 941564 h 1097280"/>
              <a:gd name="connsiteX19" fmla="*/ 987532 w 1100298"/>
              <a:gd name="connsiteY19" fmla="*/ 838694 h 1097280"/>
              <a:gd name="connsiteX20" fmla="*/ 1004677 w 1100298"/>
              <a:gd name="connsiteY20" fmla="*/ 821549 h 1097280"/>
              <a:gd name="connsiteX21" fmla="*/ 923596 w 1100298"/>
              <a:gd name="connsiteY21" fmla="*/ 821549 h 1097280"/>
              <a:gd name="connsiteX22" fmla="*/ 940741 w 1100298"/>
              <a:gd name="connsiteY22" fmla="*/ 838694 h 1097280"/>
              <a:gd name="connsiteX23" fmla="*/ 940741 w 1100298"/>
              <a:gd name="connsiteY23" fmla="*/ 941564 h 1097280"/>
              <a:gd name="connsiteX24" fmla="*/ 923596 w 1100298"/>
              <a:gd name="connsiteY24" fmla="*/ 958709 h 1097280"/>
              <a:gd name="connsiteX25" fmla="*/ 906451 w 1100298"/>
              <a:gd name="connsiteY25" fmla="*/ 941564 h 1097280"/>
              <a:gd name="connsiteX26" fmla="*/ 906451 w 1100298"/>
              <a:gd name="connsiteY26" fmla="*/ 838694 h 1097280"/>
              <a:gd name="connsiteX27" fmla="*/ 923596 w 1100298"/>
              <a:gd name="connsiteY27" fmla="*/ 821549 h 1097280"/>
              <a:gd name="connsiteX28" fmla="*/ 842515 w 1100298"/>
              <a:gd name="connsiteY28" fmla="*/ 821549 h 1097280"/>
              <a:gd name="connsiteX29" fmla="*/ 859660 w 1100298"/>
              <a:gd name="connsiteY29" fmla="*/ 838694 h 1097280"/>
              <a:gd name="connsiteX30" fmla="*/ 859660 w 1100298"/>
              <a:gd name="connsiteY30" fmla="*/ 941564 h 1097280"/>
              <a:gd name="connsiteX31" fmla="*/ 842515 w 1100298"/>
              <a:gd name="connsiteY31" fmla="*/ 958709 h 1097280"/>
              <a:gd name="connsiteX32" fmla="*/ 825370 w 1100298"/>
              <a:gd name="connsiteY32" fmla="*/ 941564 h 1097280"/>
              <a:gd name="connsiteX33" fmla="*/ 825370 w 1100298"/>
              <a:gd name="connsiteY33" fmla="*/ 838694 h 1097280"/>
              <a:gd name="connsiteX34" fmla="*/ 842515 w 1100298"/>
              <a:gd name="connsiteY34" fmla="*/ 821549 h 1097280"/>
              <a:gd name="connsiteX35" fmla="*/ 137277 w 1100298"/>
              <a:gd name="connsiteY35" fmla="*/ 820824 h 1097280"/>
              <a:gd name="connsiteX36" fmla="*/ 477493 w 1100298"/>
              <a:gd name="connsiteY36" fmla="*/ 820824 h 1097280"/>
              <a:gd name="connsiteX37" fmla="*/ 494638 w 1100298"/>
              <a:gd name="connsiteY37" fmla="*/ 837969 h 1097280"/>
              <a:gd name="connsiteX38" fmla="*/ 477493 w 1100298"/>
              <a:gd name="connsiteY38" fmla="*/ 855114 h 1097280"/>
              <a:gd name="connsiteX39" fmla="*/ 137277 w 1100298"/>
              <a:gd name="connsiteY39" fmla="*/ 855114 h 1097280"/>
              <a:gd name="connsiteX40" fmla="*/ 120132 w 1100298"/>
              <a:gd name="connsiteY40" fmla="*/ 837969 h 1097280"/>
              <a:gd name="connsiteX41" fmla="*/ 137277 w 1100298"/>
              <a:gd name="connsiteY41" fmla="*/ 820824 h 1097280"/>
              <a:gd name="connsiteX42" fmla="*/ 781185 w 1100298"/>
              <a:gd name="connsiteY42" fmla="*/ 789159 h 1097280"/>
              <a:gd name="connsiteX43" fmla="*/ 781185 w 1100298"/>
              <a:gd name="connsiteY43" fmla="*/ 991215 h 1097280"/>
              <a:gd name="connsiteX44" fmla="*/ 1066008 w 1100298"/>
              <a:gd name="connsiteY44" fmla="*/ 991215 h 1097280"/>
              <a:gd name="connsiteX45" fmla="*/ 1066008 w 1100298"/>
              <a:gd name="connsiteY45" fmla="*/ 789159 h 1097280"/>
              <a:gd name="connsiteX46" fmla="*/ 764040 w 1100298"/>
              <a:gd name="connsiteY46" fmla="*/ 754869 h 1097280"/>
              <a:gd name="connsiteX47" fmla="*/ 1083153 w 1100298"/>
              <a:gd name="connsiteY47" fmla="*/ 754869 h 1097280"/>
              <a:gd name="connsiteX48" fmla="*/ 1100298 w 1100298"/>
              <a:gd name="connsiteY48" fmla="*/ 772014 h 1097280"/>
              <a:gd name="connsiteX49" fmla="*/ 1100298 w 1100298"/>
              <a:gd name="connsiteY49" fmla="*/ 1008360 h 1097280"/>
              <a:gd name="connsiteX50" fmla="*/ 1083153 w 1100298"/>
              <a:gd name="connsiteY50" fmla="*/ 1025505 h 1097280"/>
              <a:gd name="connsiteX51" fmla="*/ 764040 w 1100298"/>
              <a:gd name="connsiteY51" fmla="*/ 1025505 h 1097280"/>
              <a:gd name="connsiteX52" fmla="*/ 746895 w 1100298"/>
              <a:gd name="connsiteY52" fmla="*/ 1008360 h 1097280"/>
              <a:gd name="connsiteX53" fmla="*/ 746895 w 1100298"/>
              <a:gd name="connsiteY53" fmla="*/ 772014 h 1097280"/>
              <a:gd name="connsiteX54" fmla="*/ 764040 w 1100298"/>
              <a:gd name="connsiteY54" fmla="*/ 754869 h 1097280"/>
              <a:gd name="connsiteX55" fmla="*/ 137277 w 1100298"/>
              <a:gd name="connsiteY55" fmla="*/ 692207 h 1097280"/>
              <a:gd name="connsiteX56" fmla="*/ 477493 w 1100298"/>
              <a:gd name="connsiteY56" fmla="*/ 692207 h 1097280"/>
              <a:gd name="connsiteX57" fmla="*/ 494638 w 1100298"/>
              <a:gd name="connsiteY57" fmla="*/ 709352 h 1097280"/>
              <a:gd name="connsiteX58" fmla="*/ 477493 w 1100298"/>
              <a:gd name="connsiteY58" fmla="*/ 726497 h 1097280"/>
              <a:gd name="connsiteX59" fmla="*/ 137277 w 1100298"/>
              <a:gd name="connsiteY59" fmla="*/ 726497 h 1097280"/>
              <a:gd name="connsiteX60" fmla="*/ 120132 w 1100298"/>
              <a:gd name="connsiteY60" fmla="*/ 709352 h 1097280"/>
              <a:gd name="connsiteX61" fmla="*/ 137277 w 1100298"/>
              <a:gd name="connsiteY61" fmla="*/ 692207 h 1097280"/>
              <a:gd name="connsiteX62" fmla="*/ 137277 w 1100298"/>
              <a:gd name="connsiteY62" fmla="*/ 563590 h 1097280"/>
              <a:gd name="connsiteX63" fmla="*/ 477493 w 1100298"/>
              <a:gd name="connsiteY63" fmla="*/ 563590 h 1097280"/>
              <a:gd name="connsiteX64" fmla="*/ 494638 w 1100298"/>
              <a:gd name="connsiteY64" fmla="*/ 580735 h 1097280"/>
              <a:gd name="connsiteX65" fmla="*/ 477493 w 1100298"/>
              <a:gd name="connsiteY65" fmla="*/ 597880 h 1097280"/>
              <a:gd name="connsiteX66" fmla="*/ 137277 w 1100298"/>
              <a:gd name="connsiteY66" fmla="*/ 597880 h 1097280"/>
              <a:gd name="connsiteX67" fmla="*/ 120132 w 1100298"/>
              <a:gd name="connsiteY67" fmla="*/ 580735 h 1097280"/>
              <a:gd name="connsiteX68" fmla="*/ 137277 w 1100298"/>
              <a:gd name="connsiteY68" fmla="*/ 563590 h 1097280"/>
              <a:gd name="connsiteX69" fmla="*/ 653988 w 1100298"/>
              <a:gd name="connsiteY69" fmla="*/ 527615 h 1097280"/>
              <a:gd name="connsiteX70" fmla="*/ 708470 w 1100298"/>
              <a:gd name="connsiteY70" fmla="*/ 527615 h 1097280"/>
              <a:gd name="connsiteX71" fmla="*/ 725615 w 1100298"/>
              <a:gd name="connsiteY71" fmla="*/ 544760 h 1097280"/>
              <a:gd name="connsiteX72" fmla="*/ 708470 w 1100298"/>
              <a:gd name="connsiteY72" fmla="*/ 561905 h 1097280"/>
              <a:gd name="connsiteX73" fmla="*/ 653988 w 1100298"/>
              <a:gd name="connsiteY73" fmla="*/ 561905 h 1097280"/>
              <a:gd name="connsiteX74" fmla="*/ 636843 w 1100298"/>
              <a:gd name="connsiteY74" fmla="*/ 544760 h 1097280"/>
              <a:gd name="connsiteX75" fmla="*/ 653988 w 1100298"/>
              <a:gd name="connsiteY75" fmla="*/ 527615 h 1097280"/>
              <a:gd name="connsiteX76" fmla="*/ 1004677 w 1100298"/>
              <a:gd name="connsiteY76" fmla="*/ 476101 h 1097280"/>
              <a:gd name="connsiteX77" fmla="*/ 1021822 w 1100298"/>
              <a:gd name="connsiteY77" fmla="*/ 493246 h 1097280"/>
              <a:gd name="connsiteX78" fmla="*/ 1021822 w 1100298"/>
              <a:gd name="connsiteY78" fmla="*/ 596116 h 1097280"/>
              <a:gd name="connsiteX79" fmla="*/ 1004677 w 1100298"/>
              <a:gd name="connsiteY79" fmla="*/ 613261 h 1097280"/>
              <a:gd name="connsiteX80" fmla="*/ 987532 w 1100298"/>
              <a:gd name="connsiteY80" fmla="*/ 596116 h 1097280"/>
              <a:gd name="connsiteX81" fmla="*/ 987532 w 1100298"/>
              <a:gd name="connsiteY81" fmla="*/ 493246 h 1097280"/>
              <a:gd name="connsiteX82" fmla="*/ 1004677 w 1100298"/>
              <a:gd name="connsiteY82" fmla="*/ 476101 h 1097280"/>
              <a:gd name="connsiteX83" fmla="*/ 923596 w 1100298"/>
              <a:gd name="connsiteY83" fmla="*/ 476101 h 1097280"/>
              <a:gd name="connsiteX84" fmla="*/ 940741 w 1100298"/>
              <a:gd name="connsiteY84" fmla="*/ 493246 h 1097280"/>
              <a:gd name="connsiteX85" fmla="*/ 940741 w 1100298"/>
              <a:gd name="connsiteY85" fmla="*/ 596116 h 1097280"/>
              <a:gd name="connsiteX86" fmla="*/ 923596 w 1100298"/>
              <a:gd name="connsiteY86" fmla="*/ 613261 h 1097280"/>
              <a:gd name="connsiteX87" fmla="*/ 906451 w 1100298"/>
              <a:gd name="connsiteY87" fmla="*/ 596116 h 1097280"/>
              <a:gd name="connsiteX88" fmla="*/ 906451 w 1100298"/>
              <a:gd name="connsiteY88" fmla="*/ 493246 h 1097280"/>
              <a:gd name="connsiteX89" fmla="*/ 923596 w 1100298"/>
              <a:gd name="connsiteY89" fmla="*/ 476101 h 1097280"/>
              <a:gd name="connsiteX90" fmla="*/ 842515 w 1100298"/>
              <a:gd name="connsiteY90" fmla="*/ 476101 h 1097280"/>
              <a:gd name="connsiteX91" fmla="*/ 859660 w 1100298"/>
              <a:gd name="connsiteY91" fmla="*/ 493246 h 1097280"/>
              <a:gd name="connsiteX92" fmla="*/ 859660 w 1100298"/>
              <a:gd name="connsiteY92" fmla="*/ 596116 h 1097280"/>
              <a:gd name="connsiteX93" fmla="*/ 842515 w 1100298"/>
              <a:gd name="connsiteY93" fmla="*/ 613261 h 1097280"/>
              <a:gd name="connsiteX94" fmla="*/ 825370 w 1100298"/>
              <a:gd name="connsiteY94" fmla="*/ 596116 h 1097280"/>
              <a:gd name="connsiteX95" fmla="*/ 825370 w 1100298"/>
              <a:gd name="connsiteY95" fmla="*/ 493246 h 1097280"/>
              <a:gd name="connsiteX96" fmla="*/ 842515 w 1100298"/>
              <a:gd name="connsiteY96" fmla="*/ 476101 h 1097280"/>
              <a:gd name="connsiteX97" fmla="*/ 781185 w 1100298"/>
              <a:gd name="connsiteY97" fmla="*/ 443712 h 1097280"/>
              <a:gd name="connsiteX98" fmla="*/ 781185 w 1100298"/>
              <a:gd name="connsiteY98" fmla="*/ 645768 h 1097280"/>
              <a:gd name="connsiteX99" fmla="*/ 1066008 w 1100298"/>
              <a:gd name="connsiteY99" fmla="*/ 645768 h 1097280"/>
              <a:gd name="connsiteX100" fmla="*/ 1066008 w 1100298"/>
              <a:gd name="connsiteY100" fmla="*/ 443712 h 1097280"/>
              <a:gd name="connsiteX101" fmla="*/ 764040 w 1100298"/>
              <a:gd name="connsiteY101" fmla="*/ 409422 h 1097280"/>
              <a:gd name="connsiteX102" fmla="*/ 1083153 w 1100298"/>
              <a:gd name="connsiteY102" fmla="*/ 409422 h 1097280"/>
              <a:gd name="connsiteX103" fmla="*/ 1100298 w 1100298"/>
              <a:gd name="connsiteY103" fmla="*/ 426567 h 1097280"/>
              <a:gd name="connsiteX104" fmla="*/ 1100298 w 1100298"/>
              <a:gd name="connsiteY104" fmla="*/ 662933 h 1097280"/>
              <a:gd name="connsiteX105" fmla="*/ 1083153 w 1100298"/>
              <a:gd name="connsiteY105" fmla="*/ 680078 h 1097280"/>
              <a:gd name="connsiteX106" fmla="*/ 764040 w 1100298"/>
              <a:gd name="connsiteY106" fmla="*/ 680078 h 1097280"/>
              <a:gd name="connsiteX107" fmla="*/ 746895 w 1100298"/>
              <a:gd name="connsiteY107" fmla="*/ 662933 h 1097280"/>
              <a:gd name="connsiteX108" fmla="*/ 746895 w 1100298"/>
              <a:gd name="connsiteY108" fmla="*/ 426567 h 1097280"/>
              <a:gd name="connsiteX109" fmla="*/ 764040 w 1100298"/>
              <a:gd name="connsiteY109" fmla="*/ 409422 h 1097280"/>
              <a:gd name="connsiteX110" fmla="*/ 307336 w 1100298"/>
              <a:gd name="connsiteY110" fmla="*/ 184362 h 1097280"/>
              <a:gd name="connsiteX111" fmla="*/ 307336 w 1100298"/>
              <a:gd name="connsiteY111" fmla="*/ 184363 h 1097280"/>
              <a:gd name="connsiteX112" fmla="*/ 279582 w 1100298"/>
              <a:gd name="connsiteY112" fmla="*/ 212116 h 1097280"/>
              <a:gd name="connsiteX113" fmla="*/ 296720 w 1100298"/>
              <a:gd name="connsiteY113" fmla="*/ 237794 h 1097280"/>
              <a:gd name="connsiteX114" fmla="*/ 326999 w 1100298"/>
              <a:gd name="connsiteY114" fmla="*/ 231778 h 1097280"/>
              <a:gd name="connsiteX115" fmla="*/ 333015 w 1100298"/>
              <a:gd name="connsiteY115" fmla="*/ 201499 h 1097280"/>
              <a:gd name="connsiteX116" fmla="*/ 307336 w 1100298"/>
              <a:gd name="connsiteY116" fmla="*/ 184362 h 1097280"/>
              <a:gd name="connsiteX117" fmla="*/ 653988 w 1100298"/>
              <a:gd name="connsiteY117" fmla="*/ 182173 h 1097280"/>
              <a:gd name="connsiteX118" fmla="*/ 708470 w 1100298"/>
              <a:gd name="connsiteY118" fmla="*/ 182173 h 1097280"/>
              <a:gd name="connsiteX119" fmla="*/ 725615 w 1100298"/>
              <a:gd name="connsiteY119" fmla="*/ 199318 h 1097280"/>
              <a:gd name="connsiteX120" fmla="*/ 708470 w 1100298"/>
              <a:gd name="connsiteY120" fmla="*/ 216463 h 1097280"/>
              <a:gd name="connsiteX121" fmla="*/ 653988 w 1100298"/>
              <a:gd name="connsiteY121" fmla="*/ 216463 h 1097280"/>
              <a:gd name="connsiteX122" fmla="*/ 636843 w 1100298"/>
              <a:gd name="connsiteY122" fmla="*/ 199318 h 1097280"/>
              <a:gd name="connsiteX123" fmla="*/ 653988 w 1100298"/>
              <a:gd name="connsiteY123" fmla="*/ 182173 h 1097280"/>
              <a:gd name="connsiteX124" fmla="*/ 307365 w 1100298"/>
              <a:gd name="connsiteY124" fmla="*/ 150051 h 1097280"/>
              <a:gd name="connsiteX125" fmla="*/ 351247 w 1100298"/>
              <a:gd name="connsiteY125" fmla="*/ 168245 h 1097280"/>
              <a:gd name="connsiteX126" fmla="*/ 369417 w 1100298"/>
              <a:gd name="connsiteY126" fmla="*/ 212132 h 1097280"/>
              <a:gd name="connsiteX127" fmla="*/ 351231 w 1100298"/>
              <a:gd name="connsiteY127" fmla="*/ 256019 h 1097280"/>
              <a:gd name="connsiteX128" fmla="*/ 307336 w 1100298"/>
              <a:gd name="connsiteY128" fmla="*/ 274182 h 1097280"/>
              <a:gd name="connsiteX129" fmla="*/ 307336 w 1100298"/>
              <a:gd name="connsiteY129" fmla="*/ 274184 h 1097280"/>
              <a:gd name="connsiteX130" fmla="*/ 263478 w 1100298"/>
              <a:gd name="connsiteY130" fmla="*/ 255982 h 1097280"/>
              <a:gd name="connsiteX131" fmla="*/ 245292 w 1100298"/>
              <a:gd name="connsiteY131" fmla="*/ 212116 h 1097280"/>
              <a:gd name="connsiteX132" fmla="*/ 263470 w 1100298"/>
              <a:gd name="connsiteY132" fmla="*/ 168229 h 1097280"/>
              <a:gd name="connsiteX133" fmla="*/ 307365 w 1100298"/>
              <a:gd name="connsiteY133" fmla="*/ 150051 h 1097280"/>
              <a:gd name="connsiteX134" fmla="*/ 1004677 w 1100298"/>
              <a:gd name="connsiteY134" fmla="*/ 130789 h 1097280"/>
              <a:gd name="connsiteX135" fmla="*/ 1021822 w 1100298"/>
              <a:gd name="connsiteY135" fmla="*/ 147934 h 1097280"/>
              <a:gd name="connsiteX136" fmla="*/ 1021822 w 1100298"/>
              <a:gd name="connsiteY136" fmla="*/ 250688 h 1097280"/>
              <a:gd name="connsiteX137" fmla="*/ 1004677 w 1100298"/>
              <a:gd name="connsiteY137" fmla="*/ 267833 h 1097280"/>
              <a:gd name="connsiteX138" fmla="*/ 987532 w 1100298"/>
              <a:gd name="connsiteY138" fmla="*/ 250688 h 1097280"/>
              <a:gd name="connsiteX139" fmla="*/ 987532 w 1100298"/>
              <a:gd name="connsiteY139" fmla="*/ 147934 h 1097280"/>
              <a:gd name="connsiteX140" fmla="*/ 1004677 w 1100298"/>
              <a:gd name="connsiteY140" fmla="*/ 130789 h 1097280"/>
              <a:gd name="connsiteX141" fmla="*/ 923596 w 1100298"/>
              <a:gd name="connsiteY141" fmla="*/ 130789 h 1097280"/>
              <a:gd name="connsiteX142" fmla="*/ 940741 w 1100298"/>
              <a:gd name="connsiteY142" fmla="*/ 147934 h 1097280"/>
              <a:gd name="connsiteX143" fmla="*/ 940741 w 1100298"/>
              <a:gd name="connsiteY143" fmla="*/ 250688 h 1097280"/>
              <a:gd name="connsiteX144" fmla="*/ 923596 w 1100298"/>
              <a:gd name="connsiteY144" fmla="*/ 267833 h 1097280"/>
              <a:gd name="connsiteX145" fmla="*/ 906451 w 1100298"/>
              <a:gd name="connsiteY145" fmla="*/ 250688 h 1097280"/>
              <a:gd name="connsiteX146" fmla="*/ 906451 w 1100298"/>
              <a:gd name="connsiteY146" fmla="*/ 147934 h 1097280"/>
              <a:gd name="connsiteX147" fmla="*/ 923596 w 1100298"/>
              <a:gd name="connsiteY147" fmla="*/ 130789 h 1097280"/>
              <a:gd name="connsiteX148" fmla="*/ 842515 w 1100298"/>
              <a:gd name="connsiteY148" fmla="*/ 130789 h 1097280"/>
              <a:gd name="connsiteX149" fmla="*/ 859660 w 1100298"/>
              <a:gd name="connsiteY149" fmla="*/ 147934 h 1097280"/>
              <a:gd name="connsiteX150" fmla="*/ 859660 w 1100298"/>
              <a:gd name="connsiteY150" fmla="*/ 250688 h 1097280"/>
              <a:gd name="connsiteX151" fmla="*/ 842515 w 1100298"/>
              <a:gd name="connsiteY151" fmla="*/ 267833 h 1097280"/>
              <a:gd name="connsiteX152" fmla="*/ 825370 w 1100298"/>
              <a:gd name="connsiteY152" fmla="*/ 250688 h 1097280"/>
              <a:gd name="connsiteX153" fmla="*/ 825370 w 1100298"/>
              <a:gd name="connsiteY153" fmla="*/ 147934 h 1097280"/>
              <a:gd name="connsiteX154" fmla="*/ 842515 w 1100298"/>
              <a:gd name="connsiteY154" fmla="*/ 130789 h 1097280"/>
              <a:gd name="connsiteX155" fmla="*/ 781185 w 1100298"/>
              <a:gd name="connsiteY155" fmla="*/ 98300 h 1097280"/>
              <a:gd name="connsiteX156" fmla="*/ 781185 w 1100298"/>
              <a:gd name="connsiteY156" fmla="*/ 300356 h 1097280"/>
              <a:gd name="connsiteX157" fmla="*/ 1066008 w 1100298"/>
              <a:gd name="connsiteY157" fmla="*/ 300356 h 1097280"/>
              <a:gd name="connsiteX158" fmla="*/ 1066008 w 1100298"/>
              <a:gd name="connsiteY158" fmla="*/ 98300 h 1097280"/>
              <a:gd name="connsiteX159" fmla="*/ 536707 w 1100298"/>
              <a:gd name="connsiteY159" fmla="*/ 64523 h 1097280"/>
              <a:gd name="connsiteX160" fmla="*/ 553852 w 1100298"/>
              <a:gd name="connsiteY160" fmla="*/ 81668 h 1097280"/>
              <a:gd name="connsiteX161" fmla="*/ 553852 w 1100298"/>
              <a:gd name="connsiteY161" fmla="*/ 1016884 h 1097280"/>
              <a:gd name="connsiteX162" fmla="*/ 536707 w 1100298"/>
              <a:gd name="connsiteY162" fmla="*/ 1034029 h 1097280"/>
              <a:gd name="connsiteX163" fmla="*/ 519562 w 1100298"/>
              <a:gd name="connsiteY163" fmla="*/ 1016884 h 1097280"/>
              <a:gd name="connsiteX164" fmla="*/ 519562 w 1100298"/>
              <a:gd name="connsiteY164" fmla="*/ 81668 h 1097280"/>
              <a:gd name="connsiteX165" fmla="*/ 536707 w 1100298"/>
              <a:gd name="connsiteY165" fmla="*/ 64523 h 1097280"/>
              <a:gd name="connsiteX166" fmla="*/ 764040 w 1100298"/>
              <a:gd name="connsiteY166" fmla="*/ 64010 h 1097280"/>
              <a:gd name="connsiteX167" fmla="*/ 1083153 w 1100298"/>
              <a:gd name="connsiteY167" fmla="*/ 64010 h 1097280"/>
              <a:gd name="connsiteX168" fmla="*/ 1083153 w 1100298"/>
              <a:gd name="connsiteY168" fmla="*/ 64013 h 1097280"/>
              <a:gd name="connsiteX169" fmla="*/ 1100298 w 1100298"/>
              <a:gd name="connsiteY169" fmla="*/ 81135 h 1097280"/>
              <a:gd name="connsiteX170" fmla="*/ 1100298 w 1100298"/>
              <a:gd name="connsiteY170" fmla="*/ 317482 h 1097280"/>
              <a:gd name="connsiteX171" fmla="*/ 1083153 w 1100298"/>
              <a:gd name="connsiteY171" fmla="*/ 334627 h 1097280"/>
              <a:gd name="connsiteX172" fmla="*/ 764040 w 1100298"/>
              <a:gd name="connsiteY172" fmla="*/ 334627 h 1097280"/>
              <a:gd name="connsiteX173" fmla="*/ 746895 w 1100298"/>
              <a:gd name="connsiteY173" fmla="*/ 317482 h 1097280"/>
              <a:gd name="connsiteX174" fmla="*/ 746895 w 1100298"/>
              <a:gd name="connsiteY174" fmla="*/ 81155 h 1097280"/>
              <a:gd name="connsiteX175" fmla="*/ 764040 w 1100298"/>
              <a:gd name="connsiteY175" fmla="*/ 64010 h 1097280"/>
              <a:gd name="connsiteX176" fmla="*/ 77926 w 1100298"/>
              <a:gd name="connsiteY176" fmla="*/ 63426 h 1097280"/>
              <a:gd name="connsiteX177" fmla="*/ 95071 w 1100298"/>
              <a:gd name="connsiteY177" fmla="*/ 80571 h 1097280"/>
              <a:gd name="connsiteX178" fmla="*/ 95071 w 1100298"/>
              <a:gd name="connsiteY178" fmla="*/ 1015806 h 1097280"/>
              <a:gd name="connsiteX179" fmla="*/ 77926 w 1100298"/>
              <a:gd name="connsiteY179" fmla="*/ 1032951 h 1097280"/>
              <a:gd name="connsiteX180" fmla="*/ 60781 w 1100298"/>
              <a:gd name="connsiteY180" fmla="*/ 1015806 h 1097280"/>
              <a:gd name="connsiteX181" fmla="*/ 60781 w 1100298"/>
              <a:gd name="connsiteY181" fmla="*/ 80571 h 1097280"/>
              <a:gd name="connsiteX182" fmla="*/ 77926 w 1100298"/>
              <a:gd name="connsiteY182" fmla="*/ 63426 h 1097280"/>
              <a:gd name="connsiteX183" fmla="*/ 34290 w 1100298"/>
              <a:gd name="connsiteY183" fmla="*/ 34290 h 1097280"/>
              <a:gd name="connsiteX184" fmla="*/ 34290 w 1100298"/>
              <a:gd name="connsiteY184" fmla="*/ 1062990 h 1097280"/>
              <a:gd name="connsiteX185" fmla="*/ 580363 w 1100298"/>
              <a:gd name="connsiteY185" fmla="*/ 1062990 h 1097280"/>
              <a:gd name="connsiteX186" fmla="*/ 580363 w 1100298"/>
              <a:gd name="connsiteY186" fmla="*/ 34290 h 1097280"/>
              <a:gd name="connsiteX187" fmla="*/ 17145 w 1100298"/>
              <a:gd name="connsiteY187" fmla="*/ 0 h 1097280"/>
              <a:gd name="connsiteX188" fmla="*/ 597508 w 1100298"/>
              <a:gd name="connsiteY188" fmla="*/ 0 h 1097280"/>
              <a:gd name="connsiteX189" fmla="*/ 614653 w 1100298"/>
              <a:gd name="connsiteY189" fmla="*/ 17145 h 1097280"/>
              <a:gd name="connsiteX190" fmla="*/ 614653 w 1100298"/>
              <a:gd name="connsiteY190" fmla="*/ 1080135 h 1097280"/>
              <a:gd name="connsiteX191" fmla="*/ 597508 w 1100298"/>
              <a:gd name="connsiteY191" fmla="*/ 1097280 h 1097280"/>
              <a:gd name="connsiteX192" fmla="*/ 17145 w 1100298"/>
              <a:gd name="connsiteY192" fmla="*/ 1097280 h 1097280"/>
              <a:gd name="connsiteX193" fmla="*/ 0 w 1100298"/>
              <a:gd name="connsiteY193" fmla="*/ 1080135 h 1097280"/>
              <a:gd name="connsiteX194" fmla="*/ 0 w 1100298"/>
              <a:gd name="connsiteY194" fmla="*/ 17145 h 1097280"/>
              <a:gd name="connsiteX195" fmla="*/ 17145 w 1100298"/>
              <a:gd name="connsiteY195" fmla="*/ 0 h 1097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</a:cxnLst>
            <a:rect l="l" t="t" r="r" b="b"/>
            <a:pathLst>
              <a:path w="1100298" h="1097280">
                <a:moveTo>
                  <a:pt x="137277" y="949441"/>
                </a:moveTo>
                <a:lnTo>
                  <a:pt x="477493" y="949441"/>
                </a:lnTo>
                <a:cubicBezTo>
                  <a:pt x="486961" y="949441"/>
                  <a:pt x="494638" y="957118"/>
                  <a:pt x="494638" y="966586"/>
                </a:cubicBezTo>
                <a:cubicBezTo>
                  <a:pt x="494638" y="976054"/>
                  <a:pt x="486961" y="983731"/>
                  <a:pt x="477493" y="983731"/>
                </a:cubicBezTo>
                <a:lnTo>
                  <a:pt x="137277" y="983731"/>
                </a:lnTo>
                <a:cubicBezTo>
                  <a:pt x="127809" y="983731"/>
                  <a:pt x="120132" y="976054"/>
                  <a:pt x="120132" y="966586"/>
                </a:cubicBezTo>
                <a:cubicBezTo>
                  <a:pt x="120132" y="957118"/>
                  <a:pt x="127809" y="949441"/>
                  <a:pt x="137277" y="949441"/>
                </a:cubicBezTo>
                <a:close/>
                <a:moveTo>
                  <a:pt x="653988" y="873023"/>
                </a:moveTo>
                <a:lnTo>
                  <a:pt x="708470" y="873023"/>
                </a:lnTo>
                <a:cubicBezTo>
                  <a:pt x="717938" y="873023"/>
                  <a:pt x="725615" y="880700"/>
                  <a:pt x="725615" y="890168"/>
                </a:cubicBezTo>
                <a:cubicBezTo>
                  <a:pt x="725615" y="899636"/>
                  <a:pt x="717938" y="907313"/>
                  <a:pt x="708470" y="907313"/>
                </a:cubicBezTo>
                <a:lnTo>
                  <a:pt x="653988" y="907313"/>
                </a:lnTo>
                <a:cubicBezTo>
                  <a:pt x="644520" y="907313"/>
                  <a:pt x="636843" y="899636"/>
                  <a:pt x="636843" y="890168"/>
                </a:cubicBezTo>
                <a:cubicBezTo>
                  <a:pt x="636843" y="880700"/>
                  <a:pt x="644520" y="873023"/>
                  <a:pt x="653988" y="873023"/>
                </a:cubicBezTo>
                <a:close/>
                <a:moveTo>
                  <a:pt x="1004677" y="821549"/>
                </a:moveTo>
                <a:cubicBezTo>
                  <a:pt x="1014145" y="821549"/>
                  <a:pt x="1021822" y="829226"/>
                  <a:pt x="1021822" y="838694"/>
                </a:cubicBezTo>
                <a:lnTo>
                  <a:pt x="1021822" y="941564"/>
                </a:lnTo>
                <a:cubicBezTo>
                  <a:pt x="1021822" y="951032"/>
                  <a:pt x="1014145" y="958709"/>
                  <a:pt x="1004677" y="958709"/>
                </a:cubicBezTo>
                <a:cubicBezTo>
                  <a:pt x="995209" y="958709"/>
                  <a:pt x="987532" y="951032"/>
                  <a:pt x="987532" y="941564"/>
                </a:cubicBezTo>
                <a:lnTo>
                  <a:pt x="987532" y="838694"/>
                </a:lnTo>
                <a:cubicBezTo>
                  <a:pt x="987532" y="829226"/>
                  <a:pt x="995209" y="821549"/>
                  <a:pt x="1004677" y="821549"/>
                </a:cubicBezTo>
                <a:close/>
                <a:moveTo>
                  <a:pt x="923596" y="821549"/>
                </a:moveTo>
                <a:cubicBezTo>
                  <a:pt x="933064" y="821549"/>
                  <a:pt x="940741" y="829226"/>
                  <a:pt x="940741" y="838694"/>
                </a:cubicBezTo>
                <a:lnTo>
                  <a:pt x="940741" y="941564"/>
                </a:lnTo>
                <a:cubicBezTo>
                  <a:pt x="940741" y="951032"/>
                  <a:pt x="933064" y="958709"/>
                  <a:pt x="923596" y="958709"/>
                </a:cubicBezTo>
                <a:cubicBezTo>
                  <a:pt x="914128" y="958709"/>
                  <a:pt x="906451" y="951032"/>
                  <a:pt x="906451" y="941564"/>
                </a:cubicBezTo>
                <a:lnTo>
                  <a:pt x="906451" y="838694"/>
                </a:lnTo>
                <a:cubicBezTo>
                  <a:pt x="906451" y="829226"/>
                  <a:pt x="914128" y="821549"/>
                  <a:pt x="923596" y="821549"/>
                </a:cubicBezTo>
                <a:close/>
                <a:moveTo>
                  <a:pt x="842515" y="821549"/>
                </a:moveTo>
                <a:cubicBezTo>
                  <a:pt x="851991" y="821549"/>
                  <a:pt x="859660" y="829226"/>
                  <a:pt x="859660" y="838694"/>
                </a:cubicBezTo>
                <a:lnTo>
                  <a:pt x="859660" y="941564"/>
                </a:lnTo>
                <a:cubicBezTo>
                  <a:pt x="859660" y="951032"/>
                  <a:pt x="851991" y="958709"/>
                  <a:pt x="842515" y="958709"/>
                </a:cubicBezTo>
                <a:cubicBezTo>
                  <a:pt x="833047" y="958709"/>
                  <a:pt x="825370" y="951032"/>
                  <a:pt x="825370" y="941564"/>
                </a:cubicBezTo>
                <a:lnTo>
                  <a:pt x="825370" y="838694"/>
                </a:lnTo>
                <a:cubicBezTo>
                  <a:pt x="825370" y="829226"/>
                  <a:pt x="833047" y="821549"/>
                  <a:pt x="842515" y="821549"/>
                </a:cubicBezTo>
                <a:close/>
                <a:moveTo>
                  <a:pt x="137277" y="820824"/>
                </a:moveTo>
                <a:lnTo>
                  <a:pt x="477493" y="820824"/>
                </a:lnTo>
                <a:cubicBezTo>
                  <a:pt x="486961" y="820824"/>
                  <a:pt x="494638" y="828501"/>
                  <a:pt x="494638" y="837969"/>
                </a:cubicBezTo>
                <a:cubicBezTo>
                  <a:pt x="494638" y="847437"/>
                  <a:pt x="486961" y="855114"/>
                  <a:pt x="477493" y="855114"/>
                </a:cubicBezTo>
                <a:lnTo>
                  <a:pt x="137277" y="855114"/>
                </a:lnTo>
                <a:cubicBezTo>
                  <a:pt x="127809" y="855114"/>
                  <a:pt x="120132" y="847437"/>
                  <a:pt x="120132" y="837969"/>
                </a:cubicBezTo>
                <a:cubicBezTo>
                  <a:pt x="120132" y="828501"/>
                  <a:pt x="127809" y="820824"/>
                  <a:pt x="137277" y="820824"/>
                </a:cubicBezTo>
                <a:close/>
                <a:moveTo>
                  <a:pt x="781185" y="789159"/>
                </a:moveTo>
                <a:lnTo>
                  <a:pt x="781185" y="991215"/>
                </a:lnTo>
                <a:lnTo>
                  <a:pt x="1066008" y="991215"/>
                </a:lnTo>
                <a:lnTo>
                  <a:pt x="1066008" y="789159"/>
                </a:lnTo>
                <a:close/>
                <a:moveTo>
                  <a:pt x="764040" y="754869"/>
                </a:moveTo>
                <a:lnTo>
                  <a:pt x="1083153" y="754869"/>
                </a:lnTo>
                <a:cubicBezTo>
                  <a:pt x="1092620" y="754869"/>
                  <a:pt x="1100298" y="762546"/>
                  <a:pt x="1100298" y="772014"/>
                </a:cubicBezTo>
                <a:lnTo>
                  <a:pt x="1100298" y="1008360"/>
                </a:lnTo>
                <a:cubicBezTo>
                  <a:pt x="1100298" y="1017828"/>
                  <a:pt x="1092620" y="1025505"/>
                  <a:pt x="1083153" y="1025505"/>
                </a:cubicBezTo>
                <a:lnTo>
                  <a:pt x="764040" y="1025505"/>
                </a:lnTo>
                <a:cubicBezTo>
                  <a:pt x="754572" y="1025505"/>
                  <a:pt x="746895" y="1017828"/>
                  <a:pt x="746895" y="1008360"/>
                </a:cubicBezTo>
                <a:lnTo>
                  <a:pt x="746895" y="772014"/>
                </a:lnTo>
                <a:cubicBezTo>
                  <a:pt x="746895" y="762546"/>
                  <a:pt x="754572" y="754869"/>
                  <a:pt x="764040" y="754869"/>
                </a:cubicBezTo>
                <a:close/>
                <a:moveTo>
                  <a:pt x="137277" y="692207"/>
                </a:moveTo>
                <a:lnTo>
                  <a:pt x="477493" y="692207"/>
                </a:lnTo>
                <a:cubicBezTo>
                  <a:pt x="486961" y="692207"/>
                  <a:pt x="494638" y="699884"/>
                  <a:pt x="494638" y="709352"/>
                </a:cubicBezTo>
                <a:cubicBezTo>
                  <a:pt x="494638" y="718820"/>
                  <a:pt x="486961" y="726497"/>
                  <a:pt x="477493" y="726497"/>
                </a:cubicBezTo>
                <a:lnTo>
                  <a:pt x="137277" y="726497"/>
                </a:lnTo>
                <a:cubicBezTo>
                  <a:pt x="127809" y="726497"/>
                  <a:pt x="120132" y="718820"/>
                  <a:pt x="120132" y="709352"/>
                </a:cubicBezTo>
                <a:cubicBezTo>
                  <a:pt x="120132" y="699884"/>
                  <a:pt x="127809" y="692207"/>
                  <a:pt x="137277" y="692207"/>
                </a:cubicBezTo>
                <a:close/>
                <a:moveTo>
                  <a:pt x="137277" y="563590"/>
                </a:moveTo>
                <a:lnTo>
                  <a:pt x="477493" y="563590"/>
                </a:lnTo>
                <a:cubicBezTo>
                  <a:pt x="486961" y="563590"/>
                  <a:pt x="494638" y="571267"/>
                  <a:pt x="494638" y="580735"/>
                </a:cubicBezTo>
                <a:cubicBezTo>
                  <a:pt x="494638" y="590203"/>
                  <a:pt x="486961" y="597880"/>
                  <a:pt x="477493" y="597880"/>
                </a:cubicBezTo>
                <a:lnTo>
                  <a:pt x="137277" y="597880"/>
                </a:lnTo>
                <a:cubicBezTo>
                  <a:pt x="127809" y="597880"/>
                  <a:pt x="120132" y="590203"/>
                  <a:pt x="120132" y="580735"/>
                </a:cubicBezTo>
                <a:cubicBezTo>
                  <a:pt x="120132" y="571267"/>
                  <a:pt x="127809" y="563590"/>
                  <a:pt x="137277" y="563590"/>
                </a:cubicBezTo>
                <a:close/>
                <a:moveTo>
                  <a:pt x="653988" y="527615"/>
                </a:moveTo>
                <a:lnTo>
                  <a:pt x="708470" y="527615"/>
                </a:lnTo>
                <a:cubicBezTo>
                  <a:pt x="717938" y="527615"/>
                  <a:pt x="725615" y="535292"/>
                  <a:pt x="725615" y="544760"/>
                </a:cubicBezTo>
                <a:cubicBezTo>
                  <a:pt x="725615" y="554228"/>
                  <a:pt x="717938" y="561905"/>
                  <a:pt x="708470" y="561905"/>
                </a:cubicBezTo>
                <a:lnTo>
                  <a:pt x="653988" y="561905"/>
                </a:lnTo>
                <a:cubicBezTo>
                  <a:pt x="644520" y="561905"/>
                  <a:pt x="636843" y="554228"/>
                  <a:pt x="636843" y="544760"/>
                </a:cubicBezTo>
                <a:cubicBezTo>
                  <a:pt x="636843" y="535292"/>
                  <a:pt x="644520" y="527615"/>
                  <a:pt x="653988" y="527615"/>
                </a:cubicBezTo>
                <a:close/>
                <a:moveTo>
                  <a:pt x="1004677" y="476101"/>
                </a:moveTo>
                <a:cubicBezTo>
                  <a:pt x="1014145" y="476101"/>
                  <a:pt x="1021822" y="483778"/>
                  <a:pt x="1021822" y="493246"/>
                </a:cubicBezTo>
                <a:lnTo>
                  <a:pt x="1021822" y="596116"/>
                </a:lnTo>
                <a:cubicBezTo>
                  <a:pt x="1021822" y="605584"/>
                  <a:pt x="1014145" y="613261"/>
                  <a:pt x="1004677" y="613261"/>
                </a:cubicBezTo>
                <a:cubicBezTo>
                  <a:pt x="995209" y="613261"/>
                  <a:pt x="987532" y="605584"/>
                  <a:pt x="987532" y="596116"/>
                </a:cubicBezTo>
                <a:lnTo>
                  <a:pt x="987532" y="493246"/>
                </a:lnTo>
                <a:cubicBezTo>
                  <a:pt x="987532" y="483778"/>
                  <a:pt x="995209" y="476101"/>
                  <a:pt x="1004677" y="476101"/>
                </a:cubicBezTo>
                <a:close/>
                <a:moveTo>
                  <a:pt x="923596" y="476101"/>
                </a:moveTo>
                <a:cubicBezTo>
                  <a:pt x="933064" y="476101"/>
                  <a:pt x="940741" y="483778"/>
                  <a:pt x="940741" y="493246"/>
                </a:cubicBezTo>
                <a:lnTo>
                  <a:pt x="940741" y="596116"/>
                </a:lnTo>
                <a:cubicBezTo>
                  <a:pt x="940741" y="605584"/>
                  <a:pt x="933064" y="613261"/>
                  <a:pt x="923596" y="613261"/>
                </a:cubicBezTo>
                <a:cubicBezTo>
                  <a:pt x="914128" y="613261"/>
                  <a:pt x="906451" y="605584"/>
                  <a:pt x="906451" y="596116"/>
                </a:cubicBezTo>
                <a:lnTo>
                  <a:pt x="906451" y="493246"/>
                </a:lnTo>
                <a:cubicBezTo>
                  <a:pt x="906451" y="483778"/>
                  <a:pt x="914128" y="476101"/>
                  <a:pt x="923596" y="476101"/>
                </a:cubicBezTo>
                <a:close/>
                <a:moveTo>
                  <a:pt x="842515" y="476101"/>
                </a:moveTo>
                <a:cubicBezTo>
                  <a:pt x="851991" y="476101"/>
                  <a:pt x="859660" y="483778"/>
                  <a:pt x="859660" y="493246"/>
                </a:cubicBezTo>
                <a:lnTo>
                  <a:pt x="859660" y="596116"/>
                </a:lnTo>
                <a:cubicBezTo>
                  <a:pt x="859660" y="605584"/>
                  <a:pt x="851991" y="613261"/>
                  <a:pt x="842515" y="613261"/>
                </a:cubicBezTo>
                <a:cubicBezTo>
                  <a:pt x="833047" y="613261"/>
                  <a:pt x="825370" y="605584"/>
                  <a:pt x="825370" y="596116"/>
                </a:cubicBezTo>
                <a:lnTo>
                  <a:pt x="825370" y="493246"/>
                </a:lnTo>
                <a:cubicBezTo>
                  <a:pt x="825370" y="483778"/>
                  <a:pt x="833047" y="476101"/>
                  <a:pt x="842515" y="476101"/>
                </a:cubicBezTo>
                <a:close/>
                <a:moveTo>
                  <a:pt x="781185" y="443712"/>
                </a:moveTo>
                <a:lnTo>
                  <a:pt x="781185" y="645768"/>
                </a:lnTo>
                <a:lnTo>
                  <a:pt x="1066008" y="645768"/>
                </a:lnTo>
                <a:lnTo>
                  <a:pt x="1066008" y="443712"/>
                </a:lnTo>
                <a:close/>
                <a:moveTo>
                  <a:pt x="764040" y="409422"/>
                </a:moveTo>
                <a:lnTo>
                  <a:pt x="1083153" y="409422"/>
                </a:lnTo>
                <a:cubicBezTo>
                  <a:pt x="1092620" y="409422"/>
                  <a:pt x="1100298" y="417099"/>
                  <a:pt x="1100298" y="426567"/>
                </a:cubicBezTo>
                <a:lnTo>
                  <a:pt x="1100298" y="662933"/>
                </a:lnTo>
                <a:cubicBezTo>
                  <a:pt x="1100298" y="672401"/>
                  <a:pt x="1092620" y="680078"/>
                  <a:pt x="1083153" y="680078"/>
                </a:cubicBezTo>
                <a:lnTo>
                  <a:pt x="764040" y="680078"/>
                </a:lnTo>
                <a:cubicBezTo>
                  <a:pt x="754572" y="680078"/>
                  <a:pt x="746895" y="672401"/>
                  <a:pt x="746895" y="662933"/>
                </a:cubicBezTo>
                <a:lnTo>
                  <a:pt x="746895" y="426567"/>
                </a:lnTo>
                <a:cubicBezTo>
                  <a:pt x="746895" y="417099"/>
                  <a:pt x="754572" y="409422"/>
                  <a:pt x="764040" y="409422"/>
                </a:cubicBezTo>
                <a:close/>
                <a:moveTo>
                  <a:pt x="307336" y="184362"/>
                </a:moveTo>
                <a:lnTo>
                  <a:pt x="307336" y="184363"/>
                </a:lnTo>
                <a:cubicBezTo>
                  <a:pt x="292020" y="184394"/>
                  <a:pt x="279605" y="196800"/>
                  <a:pt x="279582" y="212116"/>
                </a:cubicBezTo>
                <a:cubicBezTo>
                  <a:pt x="279575" y="223359"/>
                  <a:pt x="286333" y="233493"/>
                  <a:pt x="296720" y="237794"/>
                </a:cubicBezTo>
                <a:cubicBezTo>
                  <a:pt x="307099" y="242104"/>
                  <a:pt x="319046" y="239723"/>
                  <a:pt x="326999" y="231778"/>
                </a:cubicBezTo>
                <a:cubicBezTo>
                  <a:pt x="334943" y="223833"/>
                  <a:pt x="337316" y="211878"/>
                  <a:pt x="333015" y="201499"/>
                </a:cubicBezTo>
                <a:cubicBezTo>
                  <a:pt x="328706" y="191120"/>
                  <a:pt x="318572" y="184354"/>
                  <a:pt x="307336" y="184362"/>
                </a:cubicBezTo>
                <a:close/>
                <a:moveTo>
                  <a:pt x="653988" y="182173"/>
                </a:moveTo>
                <a:lnTo>
                  <a:pt x="708470" y="182173"/>
                </a:lnTo>
                <a:cubicBezTo>
                  <a:pt x="717938" y="182173"/>
                  <a:pt x="725615" y="189850"/>
                  <a:pt x="725615" y="199318"/>
                </a:cubicBezTo>
                <a:cubicBezTo>
                  <a:pt x="725615" y="208786"/>
                  <a:pt x="717938" y="216463"/>
                  <a:pt x="708470" y="216463"/>
                </a:cubicBezTo>
                <a:lnTo>
                  <a:pt x="653988" y="216463"/>
                </a:lnTo>
                <a:cubicBezTo>
                  <a:pt x="644520" y="216463"/>
                  <a:pt x="636843" y="208786"/>
                  <a:pt x="636843" y="199318"/>
                </a:cubicBezTo>
                <a:cubicBezTo>
                  <a:pt x="636843" y="189850"/>
                  <a:pt x="644520" y="182173"/>
                  <a:pt x="653988" y="182173"/>
                </a:cubicBezTo>
                <a:close/>
                <a:moveTo>
                  <a:pt x="307365" y="150051"/>
                </a:moveTo>
                <a:cubicBezTo>
                  <a:pt x="323823" y="150059"/>
                  <a:pt x="339613" y="156595"/>
                  <a:pt x="351247" y="168245"/>
                </a:cubicBezTo>
                <a:cubicBezTo>
                  <a:pt x="362888" y="179886"/>
                  <a:pt x="369425" y="195676"/>
                  <a:pt x="369417" y="212132"/>
                </a:cubicBezTo>
                <a:cubicBezTo>
                  <a:pt x="369417" y="228595"/>
                  <a:pt x="362873" y="244378"/>
                  <a:pt x="351231" y="256019"/>
                </a:cubicBezTo>
                <a:cubicBezTo>
                  <a:pt x="339583" y="267653"/>
                  <a:pt x="323792" y="274190"/>
                  <a:pt x="307336" y="274182"/>
                </a:cubicBezTo>
                <a:lnTo>
                  <a:pt x="307336" y="274184"/>
                </a:lnTo>
                <a:cubicBezTo>
                  <a:pt x="290878" y="274168"/>
                  <a:pt x="275104" y="267624"/>
                  <a:pt x="263478" y="255982"/>
                </a:cubicBezTo>
                <a:cubicBezTo>
                  <a:pt x="251844" y="244347"/>
                  <a:pt x="245300" y="228573"/>
                  <a:pt x="245292" y="212116"/>
                </a:cubicBezTo>
                <a:cubicBezTo>
                  <a:pt x="245292" y="195661"/>
                  <a:pt x="251828" y="179871"/>
                  <a:pt x="263470" y="168229"/>
                </a:cubicBezTo>
                <a:cubicBezTo>
                  <a:pt x="275111" y="156587"/>
                  <a:pt x="290902" y="150051"/>
                  <a:pt x="307365" y="150051"/>
                </a:cubicBezTo>
                <a:close/>
                <a:moveTo>
                  <a:pt x="1004677" y="130789"/>
                </a:moveTo>
                <a:cubicBezTo>
                  <a:pt x="1014145" y="130789"/>
                  <a:pt x="1021822" y="138466"/>
                  <a:pt x="1021822" y="147934"/>
                </a:cubicBezTo>
                <a:lnTo>
                  <a:pt x="1021822" y="250688"/>
                </a:lnTo>
                <a:cubicBezTo>
                  <a:pt x="1021822" y="260156"/>
                  <a:pt x="1014145" y="267833"/>
                  <a:pt x="1004677" y="267833"/>
                </a:cubicBezTo>
                <a:cubicBezTo>
                  <a:pt x="995209" y="267833"/>
                  <a:pt x="987532" y="260156"/>
                  <a:pt x="987532" y="250688"/>
                </a:cubicBezTo>
                <a:lnTo>
                  <a:pt x="987532" y="147934"/>
                </a:lnTo>
                <a:cubicBezTo>
                  <a:pt x="987532" y="138466"/>
                  <a:pt x="995209" y="130789"/>
                  <a:pt x="1004677" y="130789"/>
                </a:cubicBezTo>
                <a:close/>
                <a:moveTo>
                  <a:pt x="923596" y="130789"/>
                </a:moveTo>
                <a:cubicBezTo>
                  <a:pt x="933064" y="130789"/>
                  <a:pt x="940741" y="138466"/>
                  <a:pt x="940741" y="147934"/>
                </a:cubicBezTo>
                <a:lnTo>
                  <a:pt x="940741" y="250688"/>
                </a:lnTo>
                <a:cubicBezTo>
                  <a:pt x="940741" y="260156"/>
                  <a:pt x="933064" y="267833"/>
                  <a:pt x="923596" y="267833"/>
                </a:cubicBezTo>
                <a:cubicBezTo>
                  <a:pt x="914128" y="267833"/>
                  <a:pt x="906451" y="260156"/>
                  <a:pt x="906451" y="250688"/>
                </a:cubicBezTo>
                <a:lnTo>
                  <a:pt x="906451" y="147934"/>
                </a:lnTo>
                <a:cubicBezTo>
                  <a:pt x="906451" y="138466"/>
                  <a:pt x="914128" y="130789"/>
                  <a:pt x="923596" y="130789"/>
                </a:cubicBezTo>
                <a:close/>
                <a:moveTo>
                  <a:pt x="842515" y="130789"/>
                </a:moveTo>
                <a:cubicBezTo>
                  <a:pt x="851991" y="130789"/>
                  <a:pt x="859660" y="138466"/>
                  <a:pt x="859660" y="147934"/>
                </a:cubicBezTo>
                <a:lnTo>
                  <a:pt x="859660" y="250688"/>
                </a:lnTo>
                <a:cubicBezTo>
                  <a:pt x="859660" y="260156"/>
                  <a:pt x="851991" y="267833"/>
                  <a:pt x="842515" y="267833"/>
                </a:cubicBezTo>
                <a:cubicBezTo>
                  <a:pt x="833047" y="267833"/>
                  <a:pt x="825370" y="260156"/>
                  <a:pt x="825370" y="250688"/>
                </a:cubicBezTo>
                <a:lnTo>
                  <a:pt x="825370" y="147934"/>
                </a:lnTo>
                <a:cubicBezTo>
                  <a:pt x="825370" y="138466"/>
                  <a:pt x="833047" y="130789"/>
                  <a:pt x="842515" y="130789"/>
                </a:cubicBezTo>
                <a:close/>
                <a:moveTo>
                  <a:pt x="781185" y="98300"/>
                </a:moveTo>
                <a:lnTo>
                  <a:pt x="781185" y="300356"/>
                </a:lnTo>
                <a:lnTo>
                  <a:pt x="1066008" y="300356"/>
                </a:lnTo>
                <a:lnTo>
                  <a:pt x="1066008" y="98300"/>
                </a:lnTo>
                <a:close/>
                <a:moveTo>
                  <a:pt x="536707" y="64523"/>
                </a:moveTo>
                <a:cubicBezTo>
                  <a:pt x="546175" y="64523"/>
                  <a:pt x="553852" y="72200"/>
                  <a:pt x="553852" y="81668"/>
                </a:cubicBezTo>
                <a:lnTo>
                  <a:pt x="553852" y="1016884"/>
                </a:lnTo>
                <a:cubicBezTo>
                  <a:pt x="553852" y="1026352"/>
                  <a:pt x="546175" y="1034029"/>
                  <a:pt x="536707" y="1034029"/>
                </a:cubicBezTo>
                <a:cubicBezTo>
                  <a:pt x="527239" y="1034029"/>
                  <a:pt x="519562" y="1026352"/>
                  <a:pt x="519562" y="1016884"/>
                </a:cubicBezTo>
                <a:lnTo>
                  <a:pt x="519562" y="81668"/>
                </a:lnTo>
                <a:cubicBezTo>
                  <a:pt x="519562" y="72200"/>
                  <a:pt x="527239" y="64523"/>
                  <a:pt x="536707" y="64523"/>
                </a:cubicBezTo>
                <a:close/>
                <a:moveTo>
                  <a:pt x="764040" y="64010"/>
                </a:moveTo>
                <a:lnTo>
                  <a:pt x="1083153" y="64010"/>
                </a:lnTo>
                <a:lnTo>
                  <a:pt x="1083153" y="64013"/>
                </a:lnTo>
                <a:cubicBezTo>
                  <a:pt x="1092613" y="64013"/>
                  <a:pt x="1100282" y="71675"/>
                  <a:pt x="1100298" y="81135"/>
                </a:cubicBezTo>
                <a:lnTo>
                  <a:pt x="1100298" y="317482"/>
                </a:lnTo>
                <a:cubicBezTo>
                  <a:pt x="1100298" y="326950"/>
                  <a:pt x="1092620" y="334627"/>
                  <a:pt x="1083153" y="334627"/>
                </a:cubicBezTo>
                <a:lnTo>
                  <a:pt x="764040" y="334627"/>
                </a:lnTo>
                <a:cubicBezTo>
                  <a:pt x="754572" y="334627"/>
                  <a:pt x="746895" y="326950"/>
                  <a:pt x="746895" y="317482"/>
                </a:cubicBezTo>
                <a:lnTo>
                  <a:pt x="746895" y="81155"/>
                </a:lnTo>
                <a:cubicBezTo>
                  <a:pt x="746895" y="71687"/>
                  <a:pt x="754572" y="64010"/>
                  <a:pt x="764040" y="64010"/>
                </a:cubicBezTo>
                <a:close/>
                <a:moveTo>
                  <a:pt x="77926" y="63426"/>
                </a:moveTo>
                <a:cubicBezTo>
                  <a:pt x="87402" y="63426"/>
                  <a:pt x="95071" y="71103"/>
                  <a:pt x="95071" y="80571"/>
                </a:cubicBezTo>
                <a:lnTo>
                  <a:pt x="95071" y="1015806"/>
                </a:lnTo>
                <a:cubicBezTo>
                  <a:pt x="95071" y="1025274"/>
                  <a:pt x="87402" y="1032951"/>
                  <a:pt x="77926" y="1032951"/>
                </a:cubicBezTo>
                <a:cubicBezTo>
                  <a:pt x="68458" y="1032951"/>
                  <a:pt x="60781" y="1025274"/>
                  <a:pt x="60781" y="1015806"/>
                </a:cubicBezTo>
                <a:lnTo>
                  <a:pt x="60781" y="80571"/>
                </a:lnTo>
                <a:cubicBezTo>
                  <a:pt x="60781" y="71103"/>
                  <a:pt x="68458" y="63426"/>
                  <a:pt x="77926" y="63426"/>
                </a:cubicBezTo>
                <a:close/>
                <a:moveTo>
                  <a:pt x="34290" y="34290"/>
                </a:moveTo>
                <a:lnTo>
                  <a:pt x="34290" y="1062990"/>
                </a:lnTo>
                <a:lnTo>
                  <a:pt x="580363" y="1062990"/>
                </a:lnTo>
                <a:lnTo>
                  <a:pt x="580363" y="34290"/>
                </a:lnTo>
                <a:close/>
                <a:moveTo>
                  <a:pt x="17145" y="0"/>
                </a:moveTo>
                <a:lnTo>
                  <a:pt x="597508" y="0"/>
                </a:lnTo>
                <a:cubicBezTo>
                  <a:pt x="606976" y="0"/>
                  <a:pt x="614653" y="7677"/>
                  <a:pt x="614653" y="17145"/>
                </a:cubicBezTo>
                <a:lnTo>
                  <a:pt x="614653" y="1080135"/>
                </a:lnTo>
                <a:cubicBezTo>
                  <a:pt x="614653" y="1089603"/>
                  <a:pt x="606976" y="1097280"/>
                  <a:pt x="597508" y="1097280"/>
                </a:cubicBezTo>
                <a:lnTo>
                  <a:pt x="17145" y="1097280"/>
                </a:lnTo>
                <a:cubicBezTo>
                  <a:pt x="7677" y="1097280"/>
                  <a:pt x="0" y="1089603"/>
                  <a:pt x="0" y="1080135"/>
                </a:cubicBezTo>
                <a:lnTo>
                  <a:pt x="0" y="17145"/>
                </a:lnTo>
                <a:cubicBezTo>
                  <a:pt x="0" y="7677"/>
                  <a:pt x="7677" y="0"/>
                  <a:pt x="17145" y="0"/>
                </a:cubicBezTo>
                <a:close/>
              </a:path>
            </a:pathLst>
          </a:custGeom>
          <a:solidFill>
            <a:schemeClr val="bg1"/>
          </a:solidFill>
          <a:ln w="1959" cap="flat">
            <a:noFill/>
            <a:prstDash val="solid"/>
            <a:miter/>
          </a:ln>
        </p:spPr>
        <p:txBody>
          <a:bodyPr lIns="73152" tIns="36576" rIns="73152" bIns="36576" rtlCol="0" anchor="ctr"/>
          <a:lstStyle/>
          <a:p>
            <a:endParaRPr lang="de-CH"/>
          </a:p>
        </p:txBody>
      </p:sp>
      <p:sp>
        <p:nvSpPr>
          <p:cNvPr id="17" name="Datumsplatzhalter 3">
            <a:extLst>
              <a:ext uri="{FF2B5EF4-FFF2-40B4-BE49-F238E27FC236}">
                <a16:creationId xmlns:a16="http://schemas.microsoft.com/office/drawing/2014/main" id="{643D477B-C836-3FBE-A70E-48758DC56DE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0" y="6589397"/>
            <a:ext cx="907473" cy="134936"/>
          </a:xfrm>
        </p:spPr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32774C8D-46D9-31BF-F655-AD8A4D61E3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59527" y="6589397"/>
            <a:ext cx="4336473" cy="134936"/>
          </a:xfrm>
        </p:spPr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882918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95898E7-6450-6E4B-42BE-FF2BD0E926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06" imgH="308" progId="TCLayout.ActiveDocument.1">
                  <p:embed/>
                </p:oleObj>
              </mc:Choice>
              <mc:Fallback>
                <p:oleObj name="think-cell Folie" r:id="rId3" imgW="306" imgH="30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95898E7-6450-6E4B-42BE-FF2BD0E926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83D9632A-CB03-BFED-97ED-475093C873C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487242" y="797067"/>
            <a:ext cx="7216081" cy="5526766"/>
          </a:xfrm>
          <a:prstGeom prst="rect">
            <a:avLst/>
          </a:prstGeom>
          <a:effectLst/>
        </p:spPr>
      </p:pic>
      <p:sp>
        <p:nvSpPr>
          <p:cNvPr id="21" name="Oval 35">
            <a:extLst>
              <a:ext uri="{FF2B5EF4-FFF2-40B4-BE49-F238E27FC236}">
                <a16:creationId xmlns:a16="http://schemas.microsoft.com/office/drawing/2014/main" id="{779D32AB-B615-8402-4C7B-B76A1AC472F2}"/>
              </a:ext>
            </a:extLst>
          </p:cNvPr>
          <p:cNvSpPr>
            <a:spLocks/>
          </p:cNvSpPr>
          <p:nvPr/>
        </p:nvSpPr>
        <p:spPr>
          <a:xfrm>
            <a:off x="10104389" y="3347213"/>
            <a:ext cx="153472" cy="153472"/>
          </a:xfrm>
          <a:prstGeom prst="ellipse">
            <a:avLst/>
          </a:prstGeom>
          <a:noFill/>
          <a:ln w="508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5055" tIns="37527" rIns="75055" bIns="37527" rtlCol="0" anchor="ctr"/>
          <a:lstStyle/>
          <a:p>
            <a:pPr algn="ctr"/>
            <a:endParaRPr lang="x-none"/>
          </a:p>
        </p:txBody>
      </p:sp>
      <p:sp>
        <p:nvSpPr>
          <p:cNvPr id="22" name="TextBox 15">
            <a:extLst>
              <a:ext uri="{FF2B5EF4-FFF2-40B4-BE49-F238E27FC236}">
                <a16:creationId xmlns:a16="http://schemas.microsoft.com/office/drawing/2014/main" id="{2E350D81-7F1E-0AD6-ECB5-1ADC53775A70}"/>
              </a:ext>
            </a:extLst>
          </p:cNvPr>
          <p:cNvSpPr txBox="1"/>
          <p:nvPr/>
        </p:nvSpPr>
        <p:spPr>
          <a:xfrm>
            <a:off x="9741321" y="3066476"/>
            <a:ext cx="546790" cy="280737"/>
          </a:xfrm>
          <a:prstGeom prst="rect">
            <a:avLst/>
          </a:prstGeom>
          <a:noFill/>
        </p:spPr>
        <p:txBody>
          <a:bodyPr wrap="none" lIns="0" tIns="0" rIns="108000" bIns="0" rtlCol="0" anchor="ctr">
            <a:noAutofit/>
          </a:bodyPr>
          <a:lstStyle/>
          <a:p>
            <a:pPr algn="r"/>
            <a:r>
              <a:rPr lang="x-none" sz="1277" dirty="0">
                <a:solidFill>
                  <a:srgbClr val="DBEEF5"/>
                </a:solidFill>
              </a:rPr>
              <a:t>Zittau</a:t>
            </a:r>
          </a:p>
        </p:txBody>
      </p:sp>
      <p:pic>
        <p:nvPicPr>
          <p:cNvPr id="35" name="DZA Campus" descr="Ein Bild, das Baum, draußen, Gras, Parken enthält.&#10;&#10;Automatisch generierte Beschreibung">
            <a:extLst>
              <a:ext uri="{FF2B5EF4-FFF2-40B4-BE49-F238E27FC236}">
                <a16:creationId xmlns:a16="http://schemas.microsoft.com/office/drawing/2014/main" id="{7BBBE25B-BE05-EA6B-1BD3-36A99E5E3A0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52523" y="3003020"/>
            <a:ext cx="3423226" cy="3423226"/>
          </a:xfrm>
          <a:prstGeom prst="ellipse">
            <a:avLst/>
          </a:prstGeom>
        </p:spPr>
      </p:pic>
      <p:pic>
        <p:nvPicPr>
          <p:cNvPr id="34" name="Low-Seismic-Lab" descr="Ein Bild, das drinnen, Fenster, Ausguss, Zähler enthält.&#10;&#10;Automatisch generierte Beschreibung">
            <a:extLst>
              <a:ext uri="{FF2B5EF4-FFF2-40B4-BE49-F238E27FC236}">
                <a16:creationId xmlns:a16="http://schemas.microsoft.com/office/drawing/2014/main" id="{ECF43AA6-7E4F-1887-D566-E6D5F0475460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21875" r="21875"/>
          <a:stretch>
            <a:fillRect/>
          </a:stretch>
        </p:blipFill>
        <p:spPr>
          <a:xfrm>
            <a:off x="1220014" y="2557587"/>
            <a:ext cx="3423226" cy="3423226"/>
          </a:xfrm>
          <a:prstGeom prst="ellipse">
            <a:avLst/>
          </a:prstGeom>
        </p:spPr>
      </p:pic>
      <p:sp>
        <p:nvSpPr>
          <p:cNvPr id="7" name="Titel 6">
            <a:extLst>
              <a:ext uri="{FF2B5EF4-FFF2-40B4-BE49-F238E27FC236}">
                <a16:creationId xmlns:a16="http://schemas.microsoft.com/office/drawing/2014/main" id="{9C13B91F-BEE0-7DD8-76BA-D8AD10A552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he German Centre </a:t>
            </a:r>
            <a:br>
              <a:rPr lang="en-GB" dirty="0"/>
            </a:br>
            <a:r>
              <a:rPr lang="en-GB" dirty="0"/>
              <a:t>for Astrophysics</a:t>
            </a:r>
            <a:endParaRPr lang="de-CH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2FAFF15-79E3-9497-F39D-EAD09B2020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192413A-73C7-D050-A11B-E5F89FA991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0893257-63AF-0C47-C70C-B8EA316580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pPr/>
              <a:t>7</a:t>
            </a:fld>
            <a:endParaRPr lang="de-CH"/>
          </a:p>
        </p:txBody>
      </p:sp>
      <p:sp>
        <p:nvSpPr>
          <p:cNvPr id="18" name="TextBox 11">
            <a:extLst>
              <a:ext uri="{FF2B5EF4-FFF2-40B4-BE49-F238E27FC236}">
                <a16:creationId xmlns:a16="http://schemas.microsoft.com/office/drawing/2014/main" id="{AF29FC73-284E-A48B-340B-920130C2FFA6}"/>
              </a:ext>
            </a:extLst>
          </p:cNvPr>
          <p:cNvSpPr txBox="1"/>
          <p:nvPr/>
        </p:nvSpPr>
        <p:spPr>
          <a:xfrm>
            <a:off x="8789784" y="1474730"/>
            <a:ext cx="1028139" cy="280737"/>
          </a:xfrm>
          <a:prstGeom prst="rect">
            <a:avLst/>
          </a:prstGeom>
          <a:noFill/>
        </p:spPr>
        <p:txBody>
          <a:bodyPr wrap="none" lIns="108000" tIns="0" rIns="0" bIns="0" rtlCol="0" anchor="ctr">
            <a:noAutofit/>
          </a:bodyPr>
          <a:lstStyle/>
          <a:p>
            <a:r>
              <a:rPr lang="x-none" sz="1277" dirty="0">
                <a:solidFill>
                  <a:srgbClr val="DBEEF5"/>
                </a:solidFill>
              </a:rPr>
              <a:t>Hoyerswerda</a:t>
            </a:r>
          </a:p>
        </p:txBody>
      </p:sp>
      <p:sp>
        <p:nvSpPr>
          <p:cNvPr id="19" name="Oval 35">
            <a:extLst>
              <a:ext uri="{FF2B5EF4-FFF2-40B4-BE49-F238E27FC236}">
                <a16:creationId xmlns:a16="http://schemas.microsoft.com/office/drawing/2014/main" id="{57BDD9B7-0353-5EDB-A4DE-77A78C1EEA0D}"/>
              </a:ext>
            </a:extLst>
          </p:cNvPr>
          <p:cNvSpPr>
            <a:spLocks/>
          </p:cNvSpPr>
          <p:nvPr/>
        </p:nvSpPr>
        <p:spPr>
          <a:xfrm>
            <a:off x="9134988" y="2323249"/>
            <a:ext cx="153472" cy="153472"/>
          </a:xfrm>
          <a:prstGeom prst="ellipse">
            <a:avLst/>
          </a:prstGeom>
          <a:noFill/>
          <a:ln w="508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5055" tIns="37527" rIns="75055" bIns="37527" rtlCol="0" anchor="ctr"/>
          <a:lstStyle/>
          <a:p>
            <a:pPr algn="ctr"/>
            <a:endParaRPr lang="x-none"/>
          </a:p>
        </p:txBody>
      </p:sp>
      <p:sp>
        <p:nvSpPr>
          <p:cNvPr id="20" name="TextBox 13">
            <a:extLst>
              <a:ext uri="{FF2B5EF4-FFF2-40B4-BE49-F238E27FC236}">
                <a16:creationId xmlns:a16="http://schemas.microsoft.com/office/drawing/2014/main" id="{95A98400-5B19-E799-DABB-B24BB3A8B7B8}"/>
              </a:ext>
            </a:extLst>
          </p:cNvPr>
          <p:cNvSpPr txBox="1"/>
          <p:nvPr/>
        </p:nvSpPr>
        <p:spPr>
          <a:xfrm>
            <a:off x="8559554" y="2287690"/>
            <a:ext cx="575435" cy="224590"/>
          </a:xfrm>
          <a:prstGeom prst="rect">
            <a:avLst/>
          </a:prstGeom>
          <a:noFill/>
        </p:spPr>
        <p:txBody>
          <a:bodyPr wrap="none" lIns="0" tIns="0" rIns="108000" bIns="0" rtlCol="0">
            <a:noAutofit/>
          </a:bodyPr>
          <a:lstStyle/>
          <a:p>
            <a:pPr algn="r"/>
            <a:r>
              <a:rPr lang="x-none" sz="1277" dirty="0">
                <a:solidFill>
                  <a:srgbClr val="DBEEF5"/>
                </a:solidFill>
              </a:rPr>
              <a:t>Bautzen</a:t>
            </a:r>
          </a:p>
        </p:txBody>
      </p:sp>
      <p:sp>
        <p:nvSpPr>
          <p:cNvPr id="24" name="TextBox 17">
            <a:extLst>
              <a:ext uri="{FF2B5EF4-FFF2-40B4-BE49-F238E27FC236}">
                <a16:creationId xmlns:a16="http://schemas.microsoft.com/office/drawing/2014/main" id="{DDD347A8-AD91-2107-032A-6883EF85363E}"/>
              </a:ext>
            </a:extLst>
          </p:cNvPr>
          <p:cNvSpPr txBox="1"/>
          <p:nvPr/>
        </p:nvSpPr>
        <p:spPr>
          <a:xfrm>
            <a:off x="10541016" y="2357913"/>
            <a:ext cx="604434" cy="280737"/>
          </a:xfrm>
          <a:prstGeom prst="rect">
            <a:avLst/>
          </a:prstGeom>
          <a:noFill/>
        </p:spPr>
        <p:txBody>
          <a:bodyPr wrap="none" lIns="108000" tIns="0" rIns="0" bIns="0" rtlCol="0" anchor="ctr">
            <a:noAutofit/>
          </a:bodyPr>
          <a:lstStyle/>
          <a:p>
            <a:r>
              <a:rPr lang="x-none" sz="1277" dirty="0">
                <a:solidFill>
                  <a:schemeClr val="tx2"/>
                </a:solidFill>
              </a:rPr>
              <a:t>Görlitz</a:t>
            </a:r>
          </a:p>
        </p:txBody>
      </p:sp>
      <p:sp>
        <p:nvSpPr>
          <p:cNvPr id="37" name="TextBox 37">
            <a:extLst>
              <a:ext uri="{FF2B5EF4-FFF2-40B4-BE49-F238E27FC236}">
                <a16:creationId xmlns:a16="http://schemas.microsoft.com/office/drawing/2014/main" id="{95FD072F-983C-C2D8-D5AB-92F7F0CF78C1}"/>
              </a:ext>
            </a:extLst>
          </p:cNvPr>
          <p:cNvSpPr txBox="1"/>
          <p:nvPr/>
        </p:nvSpPr>
        <p:spPr>
          <a:xfrm>
            <a:off x="719400" y="1556792"/>
            <a:ext cx="2385304" cy="1290418"/>
          </a:xfrm>
          <a:prstGeom prst="rect">
            <a:avLst/>
          </a:prstGeom>
          <a:noFill/>
        </p:spPr>
        <p:txBody>
          <a:bodyPr wrap="square" lIns="0" tIns="0" rIns="0" bIns="0">
            <a:noAutofit/>
          </a:bodyPr>
          <a:lstStyle/>
          <a:p>
            <a:pPr>
              <a:lnSpc>
                <a:spcPct val="105000"/>
              </a:lnSpc>
              <a:spcBef>
                <a:spcPts val="600"/>
              </a:spcBef>
            </a:pPr>
            <a:r>
              <a:rPr lang="de-DE" dirty="0">
                <a:solidFill>
                  <a:srgbClr val="004899"/>
                </a:solidFill>
              </a:rPr>
              <a:t>2 </a:t>
            </a:r>
            <a:r>
              <a:rPr lang="de-DE" dirty="0" err="1">
                <a:solidFill>
                  <a:srgbClr val="004899"/>
                </a:solidFill>
              </a:rPr>
              <a:t>locations</a:t>
            </a:r>
            <a:r>
              <a:rPr lang="de-DE" dirty="0">
                <a:solidFill>
                  <a:srgbClr val="004899"/>
                </a:solidFill>
              </a:rPr>
              <a:t> </a:t>
            </a:r>
            <a:r>
              <a:rPr lang="de-DE" dirty="0" err="1">
                <a:solidFill>
                  <a:srgbClr val="004899"/>
                </a:solidFill>
              </a:rPr>
              <a:t>for</a:t>
            </a:r>
            <a:r>
              <a:rPr lang="de-DE" dirty="0">
                <a:solidFill>
                  <a:srgbClr val="004899"/>
                </a:solidFill>
              </a:rPr>
              <a:t> </a:t>
            </a:r>
            <a:r>
              <a:rPr lang="de-DE" dirty="0" err="1">
                <a:solidFill>
                  <a:srgbClr val="004899"/>
                </a:solidFill>
              </a:rPr>
              <a:t>research</a:t>
            </a:r>
            <a:r>
              <a:rPr lang="de-DE" dirty="0">
                <a:solidFill>
                  <a:srgbClr val="004899"/>
                </a:solidFill>
              </a:rPr>
              <a:t>, </a:t>
            </a:r>
            <a:r>
              <a:rPr lang="de-DE" dirty="0" err="1">
                <a:solidFill>
                  <a:srgbClr val="004899"/>
                </a:solidFill>
              </a:rPr>
              <a:t>technology</a:t>
            </a:r>
            <a:r>
              <a:rPr lang="de-DE" dirty="0">
                <a:solidFill>
                  <a:srgbClr val="004899"/>
                </a:solidFill>
              </a:rPr>
              <a:t>, </a:t>
            </a:r>
            <a:r>
              <a:rPr lang="de-DE" dirty="0" err="1">
                <a:solidFill>
                  <a:srgbClr val="004899"/>
                </a:solidFill>
              </a:rPr>
              <a:t>digitalisation</a:t>
            </a:r>
            <a:endParaRPr lang="de-DE" dirty="0">
              <a:solidFill>
                <a:srgbClr val="004899"/>
              </a:solidFill>
            </a:endParaRPr>
          </a:p>
        </p:txBody>
      </p:sp>
      <p:sp>
        <p:nvSpPr>
          <p:cNvPr id="54" name="Lichtkegel rechts">
            <a:extLst>
              <a:ext uri="{FF2B5EF4-FFF2-40B4-BE49-F238E27FC236}">
                <a16:creationId xmlns:a16="http://schemas.microsoft.com/office/drawing/2014/main" id="{969AE92C-362C-D603-BE22-080B4BC61228}"/>
              </a:ext>
            </a:extLst>
          </p:cNvPr>
          <p:cNvSpPr/>
          <p:nvPr/>
        </p:nvSpPr>
        <p:spPr>
          <a:xfrm rot="932388">
            <a:off x="9012304" y="2448776"/>
            <a:ext cx="2617527" cy="1217753"/>
          </a:xfrm>
          <a:custGeom>
            <a:avLst/>
            <a:gdLst>
              <a:gd name="connsiteX0" fmla="*/ 2576170 w 2617527"/>
              <a:gd name="connsiteY0" fmla="*/ 1176187 h 1217753"/>
              <a:gd name="connsiteX1" fmla="*/ 2617527 w 2617527"/>
              <a:gd name="connsiteY1" fmla="*/ 1217753 h 1217753"/>
              <a:gd name="connsiteX2" fmla="*/ 2613948 w 2617527"/>
              <a:gd name="connsiteY2" fmla="*/ 1217753 h 1217753"/>
              <a:gd name="connsiteX3" fmla="*/ 0 w 2617527"/>
              <a:gd name="connsiteY3" fmla="*/ 1217753 h 1217753"/>
              <a:gd name="connsiteX4" fmla="*/ 1211617 w 2617527"/>
              <a:gd name="connsiteY4" fmla="*/ 0 h 1217753"/>
              <a:gd name="connsiteX5" fmla="*/ 1239042 w 2617527"/>
              <a:gd name="connsiteY5" fmla="*/ 0 h 1217753"/>
              <a:gd name="connsiteX6" fmla="*/ 1233411 w 2617527"/>
              <a:gd name="connsiteY6" fmla="*/ 27892 h 1217753"/>
              <a:gd name="connsiteX7" fmla="*/ 1310147 w 2617527"/>
              <a:gd name="connsiteY7" fmla="*/ 104628 h 1217753"/>
              <a:gd name="connsiteX8" fmla="*/ 1386883 w 2617527"/>
              <a:gd name="connsiteY8" fmla="*/ 27892 h 1217753"/>
              <a:gd name="connsiteX9" fmla="*/ 1381251 w 2617527"/>
              <a:gd name="connsiteY9" fmla="*/ 0 h 1217753"/>
              <a:gd name="connsiteX10" fmla="*/ 1405910 w 2617527"/>
              <a:gd name="connsiteY10" fmla="*/ 0 h 1217753"/>
              <a:gd name="connsiteX11" fmla="*/ 2469874 w 2617527"/>
              <a:gd name="connsiteY11" fmla="*/ 1069352 h 1217753"/>
              <a:gd name="connsiteX12" fmla="*/ 2401199 w 2617527"/>
              <a:gd name="connsiteY12" fmla="*/ 1006936 h 1217753"/>
              <a:gd name="connsiteX13" fmla="*/ 1312454 w 2617527"/>
              <a:gd name="connsiteY13" fmla="*/ 616087 h 1217753"/>
              <a:gd name="connsiteX14" fmla="*/ 102161 w 2617527"/>
              <a:gd name="connsiteY14" fmla="*/ 1117407 h 1217753"/>
              <a:gd name="connsiteX15" fmla="*/ 10960 w 2617527"/>
              <a:gd name="connsiteY15" fmla="*/ 1217753 h 1217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617527" h="1217753">
                <a:moveTo>
                  <a:pt x="2576170" y="1176187"/>
                </a:moveTo>
                <a:lnTo>
                  <a:pt x="2617527" y="1217753"/>
                </a:lnTo>
                <a:lnTo>
                  <a:pt x="2613948" y="1217753"/>
                </a:lnTo>
                <a:close/>
                <a:moveTo>
                  <a:pt x="0" y="1217753"/>
                </a:moveTo>
                <a:lnTo>
                  <a:pt x="1211617" y="0"/>
                </a:lnTo>
                <a:lnTo>
                  <a:pt x="1239042" y="0"/>
                </a:lnTo>
                <a:lnTo>
                  <a:pt x="1233411" y="27892"/>
                </a:lnTo>
                <a:cubicBezTo>
                  <a:pt x="1233411" y="70272"/>
                  <a:pt x="1267767" y="104628"/>
                  <a:pt x="1310147" y="104628"/>
                </a:cubicBezTo>
                <a:cubicBezTo>
                  <a:pt x="1352527" y="104628"/>
                  <a:pt x="1386883" y="70272"/>
                  <a:pt x="1386883" y="27892"/>
                </a:cubicBezTo>
                <a:lnTo>
                  <a:pt x="1381251" y="0"/>
                </a:lnTo>
                <a:lnTo>
                  <a:pt x="1405910" y="0"/>
                </a:lnTo>
                <a:lnTo>
                  <a:pt x="2469874" y="1069352"/>
                </a:lnTo>
                <a:lnTo>
                  <a:pt x="2401199" y="1006936"/>
                </a:lnTo>
                <a:cubicBezTo>
                  <a:pt x="2105332" y="762765"/>
                  <a:pt x="1726022" y="616087"/>
                  <a:pt x="1312454" y="616087"/>
                </a:cubicBezTo>
                <a:cubicBezTo>
                  <a:pt x="839805" y="616087"/>
                  <a:pt x="411902" y="807666"/>
                  <a:pt x="102161" y="1117407"/>
                </a:cubicBezTo>
                <a:lnTo>
                  <a:pt x="10960" y="1217753"/>
                </a:lnTo>
                <a:close/>
              </a:path>
            </a:pathLst>
          </a:custGeom>
          <a:gradFill>
            <a:gsLst>
              <a:gs pos="0">
                <a:schemeClr val="bg1">
                  <a:alpha val="55000"/>
                </a:schemeClr>
              </a:gs>
              <a:gs pos="91000">
                <a:schemeClr val="tx2">
                  <a:alpha val="1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CH"/>
          </a:p>
        </p:txBody>
      </p:sp>
      <p:sp>
        <p:nvSpPr>
          <p:cNvPr id="55" name="Oval 35">
            <a:extLst>
              <a:ext uri="{FF2B5EF4-FFF2-40B4-BE49-F238E27FC236}">
                <a16:creationId xmlns:a16="http://schemas.microsoft.com/office/drawing/2014/main" id="{2687D0FF-FE6E-33DF-68B0-7E9A2D56FA12}"/>
              </a:ext>
            </a:extLst>
          </p:cNvPr>
          <p:cNvSpPr>
            <a:spLocks/>
          </p:cNvSpPr>
          <p:nvPr/>
        </p:nvSpPr>
        <p:spPr>
          <a:xfrm>
            <a:off x="10401314" y="2421539"/>
            <a:ext cx="153472" cy="153472"/>
          </a:xfrm>
          <a:prstGeom prst="ellipse">
            <a:avLst/>
          </a:prstGeom>
          <a:noFill/>
          <a:ln w="508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5055" tIns="37527" rIns="75055" bIns="37527" rtlCol="0" anchor="ctr"/>
          <a:lstStyle/>
          <a:p>
            <a:pPr algn="ctr"/>
            <a:endParaRPr lang="x-none"/>
          </a:p>
        </p:txBody>
      </p:sp>
      <p:sp>
        <p:nvSpPr>
          <p:cNvPr id="39" name="DZA BU">
            <a:extLst>
              <a:ext uri="{FF2B5EF4-FFF2-40B4-BE49-F238E27FC236}">
                <a16:creationId xmlns:a16="http://schemas.microsoft.com/office/drawing/2014/main" id="{8200BE07-BE19-9DE7-8F32-E339504B8644}"/>
              </a:ext>
            </a:extLst>
          </p:cNvPr>
          <p:cNvSpPr txBox="1">
            <a:spLocks/>
          </p:cNvSpPr>
          <p:nvPr/>
        </p:nvSpPr>
        <p:spPr>
          <a:xfrm>
            <a:off x="7192704" y="5371717"/>
            <a:ext cx="1942283" cy="511665"/>
          </a:xfrm>
          <a:prstGeom prst="rect">
            <a:avLst/>
          </a:prstGeom>
          <a:solidFill>
            <a:schemeClr val="tx2">
              <a:alpha val="80000"/>
            </a:schemeClr>
          </a:solidFill>
        </p:spPr>
        <p:txBody>
          <a:bodyPr vert="horz" wrap="square" lIns="180000" tIns="180000" rIns="180000" bIns="180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0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0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None/>
              <a:defRPr sz="1200" b="0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0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0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None/>
              <a:defRPr sz="1200" b="0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0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 cap="none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he DZA </a:t>
            </a:r>
            <a:r>
              <a:rPr lang="de-DE" dirty="0" err="1"/>
              <a:t>campus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Kahlbaum</a:t>
            </a:r>
            <a:r>
              <a:rPr lang="de-DE" dirty="0"/>
              <a:t> </a:t>
            </a:r>
            <a:r>
              <a:rPr lang="de-DE" dirty="0" err="1"/>
              <a:t>site</a:t>
            </a:r>
            <a:r>
              <a:rPr lang="de-DE" dirty="0"/>
              <a:t> in Görlitz</a:t>
            </a:r>
          </a:p>
        </p:txBody>
      </p:sp>
      <p:sp>
        <p:nvSpPr>
          <p:cNvPr id="69" name="Lichtkegel links">
            <a:extLst>
              <a:ext uri="{FF2B5EF4-FFF2-40B4-BE49-F238E27FC236}">
                <a16:creationId xmlns:a16="http://schemas.microsoft.com/office/drawing/2014/main" id="{7D485A2B-950B-34FB-CEC9-29DE27334635}"/>
              </a:ext>
            </a:extLst>
          </p:cNvPr>
          <p:cNvSpPr/>
          <p:nvPr/>
        </p:nvSpPr>
        <p:spPr>
          <a:xfrm rot="4121962">
            <a:off x="4606794" y="202548"/>
            <a:ext cx="3139577" cy="5602919"/>
          </a:xfrm>
          <a:custGeom>
            <a:avLst/>
            <a:gdLst>
              <a:gd name="connsiteX0" fmla="*/ 0 w 3139577"/>
              <a:gd name="connsiteY0" fmla="*/ 5602905 h 5602919"/>
              <a:gd name="connsiteX1" fmla="*/ 1495180 w 3139577"/>
              <a:gd name="connsiteY1" fmla="*/ 5 h 5602919"/>
              <a:gd name="connsiteX2" fmla="*/ 1498370 w 3139577"/>
              <a:gd name="connsiteY2" fmla="*/ 15801 h 5602919"/>
              <a:gd name="connsiteX3" fmla="*/ 1569786 w 3139577"/>
              <a:gd name="connsiteY3" fmla="*/ 63139 h 5602919"/>
              <a:gd name="connsiteX4" fmla="*/ 1641202 w 3139577"/>
              <a:gd name="connsiteY4" fmla="*/ 15801 h 5602919"/>
              <a:gd name="connsiteX5" fmla="*/ 1644392 w 3139577"/>
              <a:gd name="connsiteY5" fmla="*/ 0 h 5602919"/>
              <a:gd name="connsiteX6" fmla="*/ 3139577 w 3139577"/>
              <a:gd name="connsiteY6" fmla="*/ 5602919 h 5602919"/>
              <a:gd name="connsiteX7" fmla="*/ 3074815 w 3139577"/>
              <a:gd name="connsiteY7" fmla="*/ 5468483 h 5602919"/>
              <a:gd name="connsiteX8" fmla="*/ 1569785 w 3139577"/>
              <a:gd name="connsiteY8" fmla="*/ 4572726 h 5602919"/>
              <a:gd name="connsiteX9" fmla="*/ 64755 w 3139577"/>
              <a:gd name="connsiteY9" fmla="*/ 5468483 h 56029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39577" h="5602919">
                <a:moveTo>
                  <a:pt x="0" y="5602905"/>
                </a:moveTo>
                <a:lnTo>
                  <a:pt x="1495180" y="5"/>
                </a:lnTo>
                <a:lnTo>
                  <a:pt x="1498370" y="15801"/>
                </a:lnTo>
                <a:cubicBezTo>
                  <a:pt x="1510136" y="43620"/>
                  <a:pt x="1537681" y="63139"/>
                  <a:pt x="1569786" y="63139"/>
                </a:cubicBezTo>
                <a:cubicBezTo>
                  <a:pt x="1601890" y="63139"/>
                  <a:pt x="1629436" y="43620"/>
                  <a:pt x="1641202" y="15801"/>
                </a:cubicBezTo>
                <a:lnTo>
                  <a:pt x="1644392" y="0"/>
                </a:lnTo>
                <a:lnTo>
                  <a:pt x="3139577" y="5602919"/>
                </a:lnTo>
                <a:lnTo>
                  <a:pt x="3074815" y="5468483"/>
                </a:lnTo>
                <a:cubicBezTo>
                  <a:pt x="2784972" y="4934930"/>
                  <a:pt x="2219677" y="4572726"/>
                  <a:pt x="1569785" y="4572726"/>
                </a:cubicBezTo>
                <a:cubicBezTo>
                  <a:pt x="919893" y="4572726"/>
                  <a:pt x="354598" y="4934930"/>
                  <a:pt x="64755" y="5468483"/>
                </a:cubicBezTo>
                <a:close/>
              </a:path>
            </a:pathLst>
          </a:custGeom>
          <a:gradFill>
            <a:gsLst>
              <a:gs pos="0">
                <a:schemeClr val="bg1">
                  <a:alpha val="55000"/>
                </a:schemeClr>
              </a:gs>
              <a:gs pos="100000">
                <a:schemeClr val="tx2">
                  <a:alpha val="15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CH"/>
          </a:p>
        </p:txBody>
      </p:sp>
      <p:sp>
        <p:nvSpPr>
          <p:cNvPr id="38" name="Low-Seismic BU">
            <a:extLst>
              <a:ext uri="{FF2B5EF4-FFF2-40B4-BE49-F238E27FC236}">
                <a16:creationId xmlns:a16="http://schemas.microsoft.com/office/drawing/2014/main" id="{46E99CB4-0667-7897-5209-A5BCDC156941}"/>
              </a:ext>
            </a:extLst>
          </p:cNvPr>
          <p:cNvSpPr txBox="1">
            <a:spLocks/>
          </p:cNvSpPr>
          <p:nvPr/>
        </p:nvSpPr>
        <p:spPr>
          <a:xfrm>
            <a:off x="719400" y="5157114"/>
            <a:ext cx="1815842" cy="511665"/>
          </a:xfrm>
          <a:prstGeom prst="rect">
            <a:avLst/>
          </a:prstGeom>
          <a:solidFill>
            <a:schemeClr val="tx2">
              <a:alpha val="80000"/>
            </a:schemeClr>
          </a:solidFill>
        </p:spPr>
        <p:txBody>
          <a:bodyPr vert="horz" wrap="square" lIns="180000" tIns="180000" rIns="180000" bIns="18000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0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0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None/>
              <a:defRPr sz="1200" b="0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0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0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Symbol" panose="05050102010706020507" pitchFamily="18" charset="2"/>
              <a:buNone/>
              <a:defRPr sz="1200" b="0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200" b="0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 cap="none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200" b="0" kern="1200" spc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The Low </a:t>
            </a:r>
            <a:r>
              <a:rPr lang="de-DE" dirty="0" err="1"/>
              <a:t>Seismic</a:t>
            </a:r>
            <a:r>
              <a:rPr lang="de-DE" dirty="0"/>
              <a:t> Lab 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granit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Lusatia</a:t>
            </a:r>
            <a:endParaRPr lang="de-DE" dirty="0"/>
          </a:p>
        </p:txBody>
      </p:sp>
      <p:sp>
        <p:nvSpPr>
          <p:cNvPr id="33" name="Freihandform: Form 32">
            <a:extLst>
              <a:ext uri="{FF2B5EF4-FFF2-40B4-BE49-F238E27FC236}">
                <a16:creationId xmlns:a16="http://schemas.microsoft.com/office/drawing/2014/main" id="{6A764E69-6F3F-73F7-C85D-F1189691BA12}"/>
              </a:ext>
            </a:extLst>
          </p:cNvPr>
          <p:cNvSpPr/>
          <p:nvPr/>
        </p:nvSpPr>
        <p:spPr>
          <a:xfrm>
            <a:off x="2808530" y="1403617"/>
            <a:ext cx="8719458" cy="5454383"/>
          </a:xfrm>
          <a:custGeom>
            <a:avLst/>
            <a:gdLst>
              <a:gd name="connsiteX0" fmla="*/ 4359729 w 8719458"/>
              <a:gd name="connsiteY0" fmla="*/ 0 h 5454383"/>
              <a:gd name="connsiteX1" fmla="*/ 8719458 w 8719458"/>
              <a:gd name="connsiteY1" fmla="*/ 4359729 h 5454383"/>
              <a:gd name="connsiteX2" fmla="*/ 8582202 w 8719458"/>
              <a:gd name="connsiteY2" fmla="*/ 5449294 h 5454383"/>
              <a:gd name="connsiteX3" fmla="*/ 8580757 w 8719458"/>
              <a:gd name="connsiteY3" fmla="*/ 5454383 h 5454383"/>
              <a:gd name="connsiteX4" fmla="*/ 7565874 w 8719458"/>
              <a:gd name="connsiteY4" fmla="*/ 5454383 h 5454383"/>
              <a:gd name="connsiteX5" fmla="*/ 7597535 w 8719458"/>
              <a:gd name="connsiteY5" fmla="*/ 5367878 h 5454383"/>
              <a:gd name="connsiteX6" fmla="*/ 7749953 w 8719458"/>
              <a:gd name="connsiteY6" fmla="*/ 4359729 h 5454383"/>
              <a:gd name="connsiteX7" fmla="*/ 4359729 w 8719458"/>
              <a:gd name="connsiteY7" fmla="*/ 969505 h 5454383"/>
              <a:gd name="connsiteX8" fmla="*/ 969505 w 8719458"/>
              <a:gd name="connsiteY8" fmla="*/ 4359729 h 5454383"/>
              <a:gd name="connsiteX9" fmla="*/ 1121923 w 8719458"/>
              <a:gd name="connsiteY9" fmla="*/ 5367878 h 5454383"/>
              <a:gd name="connsiteX10" fmla="*/ 1153584 w 8719458"/>
              <a:gd name="connsiteY10" fmla="*/ 5454383 h 5454383"/>
              <a:gd name="connsiteX11" fmla="*/ 138702 w 8719458"/>
              <a:gd name="connsiteY11" fmla="*/ 5454383 h 5454383"/>
              <a:gd name="connsiteX12" fmla="*/ 137256 w 8719458"/>
              <a:gd name="connsiteY12" fmla="*/ 5449294 h 5454383"/>
              <a:gd name="connsiteX13" fmla="*/ 0 w 8719458"/>
              <a:gd name="connsiteY13" fmla="*/ 4359729 h 5454383"/>
              <a:gd name="connsiteX14" fmla="*/ 4359729 w 8719458"/>
              <a:gd name="connsiteY14" fmla="*/ 0 h 54543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719458" h="5454383">
                <a:moveTo>
                  <a:pt x="4359729" y="0"/>
                </a:moveTo>
                <a:cubicBezTo>
                  <a:pt x="6767541" y="0"/>
                  <a:pt x="8719458" y="1951917"/>
                  <a:pt x="8719458" y="4359729"/>
                </a:cubicBezTo>
                <a:cubicBezTo>
                  <a:pt x="8719458" y="4735950"/>
                  <a:pt x="8671804" y="5101040"/>
                  <a:pt x="8582202" y="5449294"/>
                </a:cubicBezTo>
                <a:lnTo>
                  <a:pt x="8580757" y="5454383"/>
                </a:lnTo>
                <a:lnTo>
                  <a:pt x="7565874" y="5454383"/>
                </a:lnTo>
                <a:lnTo>
                  <a:pt x="7597535" y="5367878"/>
                </a:lnTo>
                <a:cubicBezTo>
                  <a:pt x="7696591" y="5049404"/>
                  <a:pt x="7749953" y="4710799"/>
                  <a:pt x="7749953" y="4359729"/>
                </a:cubicBezTo>
                <a:cubicBezTo>
                  <a:pt x="7749953" y="2487360"/>
                  <a:pt x="6232098" y="969505"/>
                  <a:pt x="4359729" y="969505"/>
                </a:cubicBezTo>
                <a:cubicBezTo>
                  <a:pt x="2487360" y="969505"/>
                  <a:pt x="969505" y="2487360"/>
                  <a:pt x="969505" y="4359729"/>
                </a:cubicBezTo>
                <a:cubicBezTo>
                  <a:pt x="969505" y="4710799"/>
                  <a:pt x="1022867" y="5049404"/>
                  <a:pt x="1121923" y="5367878"/>
                </a:cubicBezTo>
                <a:lnTo>
                  <a:pt x="1153584" y="5454383"/>
                </a:lnTo>
                <a:lnTo>
                  <a:pt x="138702" y="5454383"/>
                </a:lnTo>
                <a:lnTo>
                  <a:pt x="137256" y="5449294"/>
                </a:lnTo>
                <a:cubicBezTo>
                  <a:pt x="47655" y="5101040"/>
                  <a:pt x="0" y="4735950"/>
                  <a:pt x="0" y="4359729"/>
                </a:cubicBezTo>
                <a:cubicBezTo>
                  <a:pt x="0" y="1951917"/>
                  <a:pt x="1951917" y="0"/>
                  <a:pt x="4359729" y="0"/>
                </a:cubicBezTo>
                <a:close/>
              </a:path>
            </a:pathLst>
          </a:custGeom>
          <a:gradFill>
            <a:gsLst>
              <a:gs pos="0">
                <a:schemeClr val="bg1">
                  <a:alpha val="6000"/>
                </a:schemeClr>
              </a:gs>
              <a:gs pos="99000">
                <a:schemeClr val="accent5">
                  <a:alpha val="32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de-CH"/>
          </a:p>
        </p:txBody>
      </p:sp>
      <p:sp>
        <p:nvSpPr>
          <p:cNvPr id="17" name="Oval 35">
            <a:extLst>
              <a:ext uri="{FF2B5EF4-FFF2-40B4-BE49-F238E27FC236}">
                <a16:creationId xmlns:a16="http://schemas.microsoft.com/office/drawing/2014/main" id="{DCF44235-64DB-9279-55D2-DFC969CBAAEA}"/>
              </a:ext>
            </a:extLst>
          </p:cNvPr>
          <p:cNvSpPr>
            <a:spLocks/>
          </p:cNvSpPr>
          <p:nvPr/>
        </p:nvSpPr>
        <p:spPr>
          <a:xfrm>
            <a:off x="8636311" y="1538363"/>
            <a:ext cx="153472" cy="153472"/>
          </a:xfrm>
          <a:prstGeom prst="ellipse">
            <a:avLst/>
          </a:prstGeom>
          <a:noFill/>
          <a:ln w="508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5055" tIns="37527" rIns="75055" bIns="37527" rtlCol="0" anchor="ctr"/>
          <a:lstStyle/>
          <a:p>
            <a:pPr algn="ctr"/>
            <a:endParaRPr lang="x-none"/>
          </a:p>
        </p:txBody>
      </p:sp>
      <p:sp>
        <p:nvSpPr>
          <p:cNvPr id="27" name="Oval 35">
            <a:extLst>
              <a:ext uri="{FF2B5EF4-FFF2-40B4-BE49-F238E27FC236}">
                <a16:creationId xmlns:a16="http://schemas.microsoft.com/office/drawing/2014/main" id="{C98C8CF0-E653-B26F-68AC-86B27CE6742B}"/>
              </a:ext>
            </a:extLst>
          </p:cNvPr>
          <p:cNvSpPr>
            <a:spLocks/>
          </p:cNvSpPr>
          <p:nvPr/>
        </p:nvSpPr>
        <p:spPr>
          <a:xfrm>
            <a:off x="8667740" y="429016"/>
            <a:ext cx="153472" cy="153472"/>
          </a:xfrm>
          <a:prstGeom prst="ellipse">
            <a:avLst/>
          </a:prstGeom>
          <a:noFill/>
          <a:ln w="508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5055" tIns="37527" rIns="75055" bIns="37527" rtlCol="0" anchor="ctr"/>
          <a:lstStyle/>
          <a:p>
            <a:pPr algn="ctr"/>
            <a:endParaRPr lang="x-none"/>
          </a:p>
        </p:txBody>
      </p:sp>
      <p:sp>
        <p:nvSpPr>
          <p:cNvPr id="28" name="TextBox 21">
            <a:extLst>
              <a:ext uri="{FF2B5EF4-FFF2-40B4-BE49-F238E27FC236}">
                <a16:creationId xmlns:a16="http://schemas.microsoft.com/office/drawing/2014/main" id="{CB97C7FB-3C92-B5B3-D881-A9A12953631A}"/>
              </a:ext>
            </a:extLst>
          </p:cNvPr>
          <p:cNvSpPr txBox="1"/>
          <p:nvPr/>
        </p:nvSpPr>
        <p:spPr>
          <a:xfrm>
            <a:off x="8116203" y="393457"/>
            <a:ext cx="562610" cy="224590"/>
          </a:xfrm>
          <a:prstGeom prst="rect">
            <a:avLst/>
          </a:prstGeom>
          <a:noFill/>
        </p:spPr>
        <p:txBody>
          <a:bodyPr wrap="none" lIns="0" tIns="0" rIns="108000" bIns="0" rtlCol="0" anchor="ctr">
            <a:noAutofit/>
          </a:bodyPr>
          <a:lstStyle/>
          <a:p>
            <a:pPr algn="r"/>
            <a:r>
              <a:rPr lang="x-none" sz="1277" dirty="0">
                <a:solidFill>
                  <a:schemeClr val="tx2"/>
                </a:solidFill>
              </a:rPr>
              <a:t>Cottbus</a:t>
            </a:r>
          </a:p>
        </p:txBody>
      </p:sp>
      <p:sp>
        <p:nvSpPr>
          <p:cNvPr id="31" name="Oval 35">
            <a:extLst>
              <a:ext uri="{FF2B5EF4-FFF2-40B4-BE49-F238E27FC236}">
                <a16:creationId xmlns:a16="http://schemas.microsoft.com/office/drawing/2014/main" id="{9AFB192C-2BE7-6177-1818-0A6430070FB5}"/>
              </a:ext>
            </a:extLst>
          </p:cNvPr>
          <p:cNvSpPr>
            <a:spLocks/>
          </p:cNvSpPr>
          <p:nvPr/>
        </p:nvSpPr>
        <p:spPr>
          <a:xfrm>
            <a:off x="8441470" y="2079140"/>
            <a:ext cx="153472" cy="153472"/>
          </a:xfrm>
          <a:prstGeom prst="ellipse">
            <a:avLst/>
          </a:prstGeom>
          <a:noFill/>
          <a:ln w="508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5055" tIns="37527" rIns="75055" bIns="37527" rtlCol="0" anchor="ctr"/>
          <a:lstStyle/>
          <a:p>
            <a:pPr algn="ctr"/>
            <a:endParaRPr lang="x-none"/>
          </a:p>
        </p:txBody>
      </p:sp>
      <p:sp>
        <p:nvSpPr>
          <p:cNvPr id="32" name="TextBox 74">
            <a:extLst>
              <a:ext uri="{FF2B5EF4-FFF2-40B4-BE49-F238E27FC236}">
                <a16:creationId xmlns:a16="http://schemas.microsoft.com/office/drawing/2014/main" id="{A19D38C0-E14E-743F-47C1-0A2214BF7214}"/>
              </a:ext>
            </a:extLst>
          </p:cNvPr>
          <p:cNvSpPr txBox="1"/>
          <p:nvPr/>
        </p:nvSpPr>
        <p:spPr>
          <a:xfrm>
            <a:off x="7876963" y="2043581"/>
            <a:ext cx="564508" cy="224590"/>
          </a:xfrm>
          <a:prstGeom prst="rect">
            <a:avLst/>
          </a:prstGeom>
          <a:noFill/>
        </p:spPr>
        <p:txBody>
          <a:bodyPr wrap="none" lIns="0" tIns="0" rIns="108000" bIns="0" rtlCol="0" anchor="ctr">
            <a:noAutofit/>
          </a:bodyPr>
          <a:lstStyle/>
          <a:p>
            <a:pPr algn="r"/>
            <a:r>
              <a:rPr lang="x-none" sz="1277" dirty="0">
                <a:solidFill>
                  <a:srgbClr val="DBEEF5"/>
                </a:solidFill>
              </a:rPr>
              <a:t>Kamenz</a:t>
            </a:r>
          </a:p>
        </p:txBody>
      </p:sp>
      <p:sp>
        <p:nvSpPr>
          <p:cNvPr id="67" name="Ellipse 66">
            <a:extLst>
              <a:ext uri="{FF2B5EF4-FFF2-40B4-BE49-F238E27FC236}">
                <a16:creationId xmlns:a16="http://schemas.microsoft.com/office/drawing/2014/main" id="{0EF3B9B0-4B32-CC43-0FBD-E9F88A2C26E2}"/>
              </a:ext>
            </a:extLst>
          </p:cNvPr>
          <p:cNvSpPr>
            <a:spLocks/>
          </p:cNvSpPr>
          <p:nvPr/>
        </p:nvSpPr>
        <p:spPr>
          <a:xfrm>
            <a:off x="8722545" y="1903614"/>
            <a:ext cx="155014" cy="15501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8872" tIns="59436" rIns="118872" bIns="59436" rtlCol="0" anchor="ctr"/>
          <a:lstStyle/>
          <a:p>
            <a:pPr algn="ctr"/>
            <a:endParaRPr lang="de-CH"/>
          </a:p>
        </p:txBody>
      </p:sp>
      <p:sp>
        <p:nvSpPr>
          <p:cNvPr id="25" name="Oval 35">
            <a:extLst>
              <a:ext uri="{FF2B5EF4-FFF2-40B4-BE49-F238E27FC236}">
                <a16:creationId xmlns:a16="http://schemas.microsoft.com/office/drawing/2014/main" id="{D71262A0-2377-C7C4-A7D8-EA7870F63492}"/>
              </a:ext>
            </a:extLst>
          </p:cNvPr>
          <p:cNvSpPr>
            <a:spLocks/>
          </p:cNvSpPr>
          <p:nvPr/>
        </p:nvSpPr>
        <p:spPr>
          <a:xfrm>
            <a:off x="5867251" y="3822322"/>
            <a:ext cx="153472" cy="153472"/>
          </a:xfrm>
          <a:prstGeom prst="ellipse">
            <a:avLst/>
          </a:prstGeom>
          <a:noFill/>
          <a:ln w="508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5055" tIns="37527" rIns="75055" bIns="37527" rtlCol="0" anchor="ctr"/>
          <a:lstStyle/>
          <a:p>
            <a:pPr algn="ctr"/>
            <a:endParaRPr lang="x-none"/>
          </a:p>
        </p:txBody>
      </p:sp>
      <p:sp>
        <p:nvSpPr>
          <p:cNvPr id="26" name="TextBox 19">
            <a:extLst>
              <a:ext uri="{FF2B5EF4-FFF2-40B4-BE49-F238E27FC236}">
                <a16:creationId xmlns:a16="http://schemas.microsoft.com/office/drawing/2014/main" id="{A3550AC2-4361-2FAB-25AF-0D69B3E9B3FC}"/>
              </a:ext>
            </a:extLst>
          </p:cNvPr>
          <p:cNvSpPr txBox="1"/>
          <p:nvPr/>
        </p:nvSpPr>
        <p:spPr>
          <a:xfrm>
            <a:off x="5295861" y="3786764"/>
            <a:ext cx="582462" cy="224590"/>
          </a:xfrm>
          <a:prstGeom prst="rect">
            <a:avLst/>
          </a:prstGeom>
          <a:noFill/>
        </p:spPr>
        <p:txBody>
          <a:bodyPr wrap="none" lIns="0" tIns="0" rIns="108000" bIns="0" rtlCol="0" anchor="ctr">
            <a:noAutofit/>
          </a:bodyPr>
          <a:lstStyle/>
          <a:p>
            <a:pPr algn="r"/>
            <a:r>
              <a:rPr lang="x-none" sz="1277" dirty="0">
                <a:solidFill>
                  <a:srgbClr val="DBEEF5"/>
                </a:solidFill>
              </a:rPr>
              <a:t>Chemitz</a:t>
            </a:r>
          </a:p>
        </p:txBody>
      </p:sp>
      <p:sp>
        <p:nvSpPr>
          <p:cNvPr id="29" name="Oval 35">
            <a:extLst>
              <a:ext uri="{FF2B5EF4-FFF2-40B4-BE49-F238E27FC236}">
                <a16:creationId xmlns:a16="http://schemas.microsoft.com/office/drawing/2014/main" id="{D62511E7-B3B7-7CA6-CB66-9E9B18FCED42}"/>
              </a:ext>
            </a:extLst>
          </p:cNvPr>
          <p:cNvSpPr>
            <a:spLocks/>
          </p:cNvSpPr>
          <p:nvPr/>
        </p:nvSpPr>
        <p:spPr>
          <a:xfrm>
            <a:off x="4592597" y="2037772"/>
            <a:ext cx="153472" cy="153472"/>
          </a:xfrm>
          <a:prstGeom prst="ellipse">
            <a:avLst/>
          </a:prstGeom>
          <a:noFill/>
          <a:ln w="508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5055" tIns="37527" rIns="75055" bIns="37527" rtlCol="0" anchor="ctr"/>
          <a:lstStyle/>
          <a:p>
            <a:pPr algn="ctr"/>
            <a:endParaRPr lang="x-none"/>
          </a:p>
        </p:txBody>
      </p:sp>
      <p:sp>
        <p:nvSpPr>
          <p:cNvPr id="30" name="TextBox 23">
            <a:extLst>
              <a:ext uri="{FF2B5EF4-FFF2-40B4-BE49-F238E27FC236}">
                <a16:creationId xmlns:a16="http://schemas.microsoft.com/office/drawing/2014/main" id="{C1CE8539-DD8D-26CF-C8B6-A450FFF53823}"/>
              </a:ext>
            </a:extLst>
          </p:cNvPr>
          <p:cNvSpPr txBox="1"/>
          <p:nvPr/>
        </p:nvSpPr>
        <p:spPr>
          <a:xfrm>
            <a:off x="4734997" y="1974140"/>
            <a:ext cx="614886" cy="280737"/>
          </a:xfrm>
          <a:prstGeom prst="rect">
            <a:avLst/>
          </a:prstGeom>
          <a:noFill/>
        </p:spPr>
        <p:txBody>
          <a:bodyPr wrap="none" lIns="108000" tIns="0" rIns="0" bIns="0" rtlCol="0" anchor="ctr">
            <a:noAutofit/>
          </a:bodyPr>
          <a:lstStyle/>
          <a:p>
            <a:r>
              <a:rPr lang="x-none" sz="1277" dirty="0">
                <a:solidFill>
                  <a:srgbClr val="DBEEF5"/>
                </a:solidFill>
              </a:rPr>
              <a:t>Leipzig</a:t>
            </a:r>
          </a:p>
        </p:txBody>
      </p:sp>
      <p:sp>
        <p:nvSpPr>
          <p:cNvPr id="15" name="Oval 35">
            <a:extLst>
              <a:ext uri="{FF2B5EF4-FFF2-40B4-BE49-F238E27FC236}">
                <a16:creationId xmlns:a16="http://schemas.microsoft.com/office/drawing/2014/main" id="{1DCAE073-D400-4C7C-3D03-E6C6494ABD59}"/>
              </a:ext>
            </a:extLst>
          </p:cNvPr>
          <p:cNvSpPr>
            <a:spLocks/>
          </p:cNvSpPr>
          <p:nvPr/>
        </p:nvSpPr>
        <p:spPr>
          <a:xfrm>
            <a:off x="7657798" y="2891787"/>
            <a:ext cx="153472" cy="153472"/>
          </a:xfrm>
          <a:prstGeom prst="ellipse">
            <a:avLst/>
          </a:prstGeom>
          <a:noFill/>
          <a:ln w="508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5055" tIns="37527" rIns="75055" bIns="37527" rtlCol="0" anchor="ctr"/>
          <a:lstStyle/>
          <a:p>
            <a:pPr algn="ctr"/>
            <a:endParaRPr lang="x-none"/>
          </a:p>
        </p:txBody>
      </p:sp>
      <p:sp>
        <p:nvSpPr>
          <p:cNvPr id="16" name="TextBox 9">
            <a:extLst>
              <a:ext uri="{FF2B5EF4-FFF2-40B4-BE49-F238E27FC236}">
                <a16:creationId xmlns:a16="http://schemas.microsoft.com/office/drawing/2014/main" id="{427EF40D-30CC-A32E-047D-2B6EA863624B}"/>
              </a:ext>
            </a:extLst>
          </p:cNvPr>
          <p:cNvSpPr txBox="1"/>
          <p:nvPr/>
        </p:nvSpPr>
        <p:spPr>
          <a:xfrm>
            <a:off x="7079331" y="2856228"/>
            <a:ext cx="589541" cy="224590"/>
          </a:xfrm>
          <a:prstGeom prst="rect">
            <a:avLst/>
          </a:prstGeom>
          <a:noFill/>
        </p:spPr>
        <p:txBody>
          <a:bodyPr wrap="none" lIns="0" tIns="0" rIns="108000" bIns="0" rtlCol="0" anchor="ctr">
            <a:noAutofit/>
          </a:bodyPr>
          <a:lstStyle/>
          <a:p>
            <a:pPr algn="r"/>
            <a:r>
              <a:rPr lang="x-none" sz="1277" dirty="0">
                <a:solidFill>
                  <a:srgbClr val="DBEEF5"/>
                </a:solidFill>
              </a:rPr>
              <a:t>Dresden</a:t>
            </a:r>
          </a:p>
        </p:txBody>
      </p:sp>
    </p:spTree>
    <p:extLst>
      <p:ext uri="{BB962C8B-B14F-4D97-AF65-F5344CB8AC3E}">
        <p14:creationId xmlns:p14="http://schemas.microsoft.com/office/powerpoint/2010/main" val="2117102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250"/>
                            </p:stCondLst>
                            <p:childTnLst>
                              <p:par>
                                <p:cTn id="18" presetID="53" presetClass="entr" presetSubtype="16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4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000"/>
                            </p:stCondLst>
                            <p:childTnLst>
                              <p:par>
                                <p:cTn id="2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2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  <p:bldP spid="39" grpId="0" animBg="1"/>
      <p:bldP spid="69" grpId="0" animBg="1"/>
      <p:bldP spid="38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>
            <a:extLst>
              <a:ext uri="{FF2B5EF4-FFF2-40B4-BE49-F238E27FC236}">
                <a16:creationId xmlns:a16="http://schemas.microsoft.com/office/drawing/2014/main" id="{A49409C5-0A4F-C080-C02B-6FE4AB0BD8ED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/>
          <a:srcRect l="222" r="22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1320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63856D-8D23-D3AA-7AD5-B2542AADC9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E" dirty="0"/>
              <a:t>The Structure of t</a:t>
            </a:r>
            <a:r>
              <a:rPr lang="en-GB" dirty="0"/>
              <a:t>he</a:t>
            </a:r>
            <a:r>
              <a:rPr lang="en-DE" dirty="0"/>
              <a:t> DZA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9DB2BB0-5156-272F-48DE-E6C4DD4A3F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1.10.2022</a:t>
            </a:r>
            <a:endParaRPr lang="de-CH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4F5E10-F044-2880-2F16-AFBF30EF85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Helmholtz MU-Day</a:t>
            </a:r>
            <a:endParaRPr lang="de-CH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903DFA-FBFE-BE3A-256E-177A859D8A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7F7AFC-335A-4E1E-8346-4C0D714D39C6}" type="slidenum">
              <a:rPr lang="de-CH" smtClean="0"/>
              <a:pPr/>
              <a:t>9</a:t>
            </a:fld>
            <a:endParaRPr lang="de-CH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7F9D6A5-BCE0-642B-3C41-09AA56FEC268}"/>
              </a:ext>
            </a:extLst>
          </p:cNvPr>
          <p:cNvSpPr/>
          <p:nvPr/>
        </p:nvSpPr>
        <p:spPr>
          <a:xfrm>
            <a:off x="719399" y="1561897"/>
            <a:ext cx="6379920" cy="46892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b="1" dirty="0">
                <a:latin typeface="+mj-lt"/>
              </a:rPr>
              <a:t>Institut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A1C637A-A4D2-1FA1-3D3E-6E7A96F930CB}"/>
              </a:ext>
            </a:extLst>
          </p:cNvPr>
          <p:cNvSpPr/>
          <p:nvPr/>
        </p:nvSpPr>
        <p:spPr>
          <a:xfrm>
            <a:off x="7279320" y="1561896"/>
            <a:ext cx="4193280" cy="46892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DE" b="1" dirty="0">
                <a:latin typeface="+mj-lt"/>
              </a:rPr>
              <a:t>Department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D070AFD-FF03-831C-457A-12C1BC53D62A}"/>
              </a:ext>
            </a:extLst>
          </p:cNvPr>
          <p:cNvSpPr/>
          <p:nvPr/>
        </p:nvSpPr>
        <p:spPr>
          <a:xfrm>
            <a:off x="719399" y="2120819"/>
            <a:ext cx="2006640" cy="18969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45720" rtlCol="0" anchor="t"/>
          <a:lstStyle/>
          <a:p>
            <a:pPr algn="ctr"/>
            <a:r>
              <a:rPr lang="en-DE" dirty="0"/>
              <a:t>Astro physics</a:t>
            </a:r>
          </a:p>
          <a:p>
            <a:pPr algn="ctr"/>
            <a:endParaRPr lang="en-DE" dirty="0"/>
          </a:p>
          <a:p>
            <a:pPr algn="ctr"/>
            <a:endParaRPr lang="en-DE" dirty="0"/>
          </a:p>
          <a:p>
            <a:pPr algn="ctr"/>
            <a:endParaRPr lang="en-DE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B871E31-EBA7-46C8-D5D6-F718A8D3DF65}"/>
              </a:ext>
            </a:extLst>
          </p:cNvPr>
          <p:cNvSpPr/>
          <p:nvPr/>
        </p:nvSpPr>
        <p:spPr>
          <a:xfrm>
            <a:off x="2906039" y="2120819"/>
            <a:ext cx="2006640" cy="18969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45720" rtlCol="0" anchor="t"/>
          <a:lstStyle/>
          <a:p>
            <a:pPr algn="ctr"/>
            <a:r>
              <a:rPr lang="en-GB" dirty="0"/>
              <a:t>Data science</a:t>
            </a:r>
          </a:p>
          <a:p>
            <a:pPr algn="ctr"/>
            <a:endParaRPr lang="en-GB" dirty="0"/>
          </a:p>
          <a:p>
            <a:pPr algn="ctr"/>
            <a:endParaRPr lang="en-GB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A842DDD-002C-79FF-03F0-9AB3FF4CD526}"/>
              </a:ext>
            </a:extLst>
          </p:cNvPr>
          <p:cNvSpPr/>
          <p:nvPr/>
        </p:nvSpPr>
        <p:spPr>
          <a:xfrm>
            <a:off x="5092679" y="2120819"/>
            <a:ext cx="2006640" cy="18969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45720" rtlCol="0" anchor="t"/>
          <a:lstStyle/>
          <a:p>
            <a:pPr algn="ctr"/>
            <a:r>
              <a:rPr lang="en-GB" dirty="0"/>
              <a:t>Technology development</a:t>
            </a:r>
          </a:p>
          <a:p>
            <a:pPr algn="ctr"/>
            <a:endParaRPr lang="en-GB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1D2246E-0589-7808-2EF7-17571752F9C2}"/>
              </a:ext>
            </a:extLst>
          </p:cNvPr>
          <p:cNvSpPr/>
          <p:nvPr/>
        </p:nvSpPr>
        <p:spPr>
          <a:xfrm>
            <a:off x="7279321" y="2120819"/>
            <a:ext cx="2006640" cy="18969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45720" rtlCol="0" anchor="t"/>
          <a:lstStyle/>
          <a:p>
            <a:pPr algn="ctr"/>
            <a:r>
              <a:rPr lang="en-GB" dirty="0"/>
              <a:t>Transformation research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54E48A2-5005-A18F-B283-512C2DFE0183}"/>
              </a:ext>
            </a:extLst>
          </p:cNvPr>
          <p:cNvSpPr/>
          <p:nvPr/>
        </p:nvSpPr>
        <p:spPr>
          <a:xfrm>
            <a:off x="9465961" y="2120819"/>
            <a:ext cx="2006640" cy="189690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144000" rIns="91440" bIns="45720" rtlCol="0" anchor="t"/>
          <a:lstStyle/>
          <a:p>
            <a:pPr algn="ctr"/>
            <a:r>
              <a:rPr lang="en-DE" dirty="0"/>
              <a:t>Administra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F36FDBA-DC90-66B3-4513-2134DE09BC31}"/>
              </a:ext>
            </a:extLst>
          </p:cNvPr>
          <p:cNvSpPr/>
          <p:nvPr/>
        </p:nvSpPr>
        <p:spPr>
          <a:xfrm>
            <a:off x="1180043" y="3238296"/>
            <a:ext cx="9831914" cy="468923"/>
          </a:xfrm>
          <a:prstGeom prst="rect">
            <a:avLst/>
          </a:prstGeom>
          <a:solidFill>
            <a:schemeClr val="accent6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b="1" dirty="0">
                <a:latin typeface="+mj-lt"/>
              </a:rPr>
              <a:t>Centre for Innovation &amp; Transfer</a:t>
            </a:r>
          </a:p>
        </p:txBody>
      </p:sp>
      <p:grpSp>
        <p:nvGrpSpPr>
          <p:cNvPr id="3" name="Gruppieren 33">
            <a:extLst>
              <a:ext uri="{FF2B5EF4-FFF2-40B4-BE49-F238E27FC236}">
                <a16:creationId xmlns:a16="http://schemas.microsoft.com/office/drawing/2014/main" id="{3F85ED44-B746-9521-AAF4-B63D7E3BFC9E}"/>
              </a:ext>
            </a:extLst>
          </p:cNvPr>
          <p:cNvGrpSpPr/>
          <p:nvPr/>
        </p:nvGrpSpPr>
        <p:grpSpPr>
          <a:xfrm>
            <a:off x="2906039" y="4107724"/>
            <a:ext cx="4193280" cy="2069240"/>
            <a:chOff x="2865446" y="4107724"/>
            <a:chExt cx="4152686" cy="2069240"/>
          </a:xfrm>
        </p:grpSpPr>
        <p:sp>
          <p:nvSpPr>
            <p:cNvPr id="7" name="Textplatzhalter 7">
              <a:extLst>
                <a:ext uri="{FF2B5EF4-FFF2-40B4-BE49-F238E27FC236}">
                  <a16:creationId xmlns:a16="http://schemas.microsoft.com/office/drawing/2014/main" id="{D8329FF1-CDCE-51A4-01ED-2039BF5D4817}"/>
                </a:ext>
              </a:extLst>
            </p:cNvPr>
            <p:cNvSpPr txBox="1">
              <a:spLocks/>
            </p:cNvSpPr>
            <p:nvPr/>
          </p:nvSpPr>
          <p:spPr>
            <a:xfrm>
              <a:off x="2865446" y="4107724"/>
              <a:ext cx="4152686" cy="2069240"/>
            </a:xfrm>
            <a:prstGeom prst="rect">
              <a:avLst/>
            </a:prstGeom>
            <a:solidFill>
              <a:srgbClr val="E3E3E4"/>
            </a:solidFill>
          </p:spPr>
          <p:txBody>
            <a:bodyPr vert="horz" lIns="90000" tIns="432000" rIns="90000" bIns="90000" rtlCol="0">
              <a:noAutofit/>
            </a:bodyPr>
            <a:lstStyle>
              <a:lvl1pPr marL="0" indent="0" algn="l" defTabSz="914400" rtl="0" eaLnBrk="1" latinLnBrk="0" hangingPunct="1">
                <a:lnSpc>
                  <a:spcPct val="105000"/>
                </a:lnSpc>
                <a:spcBef>
                  <a:spcPts val="60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16000" indent="-216000" algn="l" defTabSz="914400" rtl="0" eaLnBrk="1" latinLnBrk="0" hangingPunct="1">
                <a:lnSpc>
                  <a:spcPct val="105000"/>
                </a:lnSpc>
                <a:spcBef>
                  <a:spcPts val="600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32000" indent="-216000" algn="l" defTabSz="914400" rtl="0" eaLnBrk="1" latinLnBrk="0" hangingPunct="1">
                <a:lnSpc>
                  <a:spcPct val="105000"/>
                </a:lnSpc>
                <a:spcBef>
                  <a:spcPts val="300"/>
                </a:spcBef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lnSpc>
                  <a:spcPct val="105000"/>
                </a:lnSpc>
                <a:spcBef>
                  <a:spcPts val="600"/>
                </a:spcBef>
                <a:buClr>
                  <a:schemeClr val="tx2"/>
                </a:buClr>
                <a:buFont typeface="Arial" panose="020B0604020202020204" pitchFamily="34" charset="0"/>
                <a:buNone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0000" indent="-180000" algn="l" defTabSz="914400" rtl="0" eaLnBrk="1" latinLnBrk="0" hangingPunct="1">
                <a:lnSpc>
                  <a:spcPct val="105000"/>
                </a:lnSpc>
                <a:spcBef>
                  <a:spcPts val="600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0" indent="-216000" algn="l" defTabSz="914400" rtl="0" eaLnBrk="1" latinLnBrk="0" hangingPunct="1">
                <a:lnSpc>
                  <a:spcPct val="105000"/>
                </a:lnSpc>
                <a:spcBef>
                  <a:spcPts val="600"/>
                </a:spcBef>
                <a:buClr>
                  <a:schemeClr val="tx2"/>
                </a:buClr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432000" indent="-216000" algn="l" defTabSz="914400" rtl="0" eaLnBrk="1" latinLnBrk="0" hangingPunct="1">
                <a:lnSpc>
                  <a:spcPct val="105000"/>
                </a:lnSpc>
                <a:spcBef>
                  <a:spcPts val="600"/>
                </a:spcBef>
                <a:buClr>
                  <a:schemeClr val="tx2"/>
                </a:buClr>
                <a:buFont typeface="Symbol" panose="05050102010706020507" pitchFamily="18" charset="2"/>
                <a:buChar char="-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lnSpc>
                  <a:spcPct val="105000"/>
                </a:lnSpc>
                <a:spcBef>
                  <a:spcPts val="60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1800" b="1" kern="1200" cap="all" spc="70" baseline="0">
                  <a:gradFill>
                    <a:gsLst>
                      <a:gs pos="73441">
                        <a:srgbClr val="006B99"/>
                      </a:gs>
                      <a:gs pos="31900">
                        <a:srgbClr val="00579A"/>
                      </a:gs>
                      <a:gs pos="0">
                        <a:srgbClr val="00499A"/>
                      </a:gs>
                      <a:gs pos="100000">
                        <a:srgbClr val="007B98"/>
                      </a:gs>
                    </a:gsLst>
                    <a:lin ang="0" scaled="0"/>
                  </a:gradFill>
                  <a:latin typeface="+mj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lnSpc>
                  <a:spcPct val="105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j-lt"/>
                  <a:ea typeface="+mn-ea"/>
                  <a:cs typeface="+mn-cs"/>
                </a:defRPr>
              </a:lvl9pPr>
            </a:lstStyle>
            <a:p>
              <a:pPr lvl="3"/>
              <a:r>
                <a:rPr lang="de-DE" sz="1600" b="1" dirty="0">
                  <a:solidFill>
                    <a:schemeClr val="tx2"/>
                  </a:solidFill>
                  <a:latin typeface="+mj-lt"/>
                </a:rPr>
                <a:t>Think </a:t>
              </a:r>
              <a:r>
                <a:rPr lang="de-DE" sz="1600" b="1" dirty="0" err="1">
                  <a:solidFill>
                    <a:schemeClr val="tx2"/>
                  </a:solidFill>
                  <a:latin typeface="+mj-lt"/>
                </a:rPr>
                <a:t>tanks</a:t>
              </a:r>
              <a:r>
                <a:rPr lang="de-DE" sz="1600" b="1" dirty="0">
                  <a:solidFill>
                    <a:schemeClr val="tx2"/>
                  </a:solidFill>
                  <a:latin typeface="+mj-lt"/>
                </a:rPr>
                <a:t> </a:t>
              </a:r>
              <a:r>
                <a:rPr lang="de-DE" sz="1600" b="1" dirty="0" err="1">
                  <a:solidFill>
                    <a:schemeClr val="tx2"/>
                  </a:solidFill>
                  <a:latin typeface="+mj-lt"/>
                </a:rPr>
                <a:t>for</a:t>
              </a:r>
              <a:r>
                <a:rPr lang="de-DE" sz="1600" b="1" dirty="0">
                  <a:solidFill>
                    <a:schemeClr val="tx2"/>
                  </a:solidFill>
                  <a:latin typeface="+mj-lt"/>
                </a:rPr>
                <a:t> </a:t>
              </a:r>
              <a:r>
                <a:rPr lang="de-DE" sz="1600" b="1" dirty="0" err="1">
                  <a:solidFill>
                    <a:schemeClr val="tx2"/>
                  </a:solidFill>
                  <a:latin typeface="+mj-lt"/>
                </a:rPr>
                <a:t>key</a:t>
              </a:r>
              <a:r>
                <a:rPr lang="de-DE" sz="1600" b="1" dirty="0">
                  <a:solidFill>
                    <a:schemeClr val="tx2"/>
                  </a:solidFill>
                  <a:latin typeface="+mj-lt"/>
                </a:rPr>
                <a:t> </a:t>
              </a:r>
              <a:r>
                <a:rPr lang="de-DE" sz="1600" b="1" dirty="0" err="1">
                  <a:solidFill>
                    <a:schemeClr val="tx2"/>
                  </a:solidFill>
                  <a:latin typeface="+mj-lt"/>
                </a:rPr>
                <a:t>technologies</a:t>
              </a:r>
              <a:endParaRPr lang="de-DE" sz="1600" b="1" dirty="0">
                <a:solidFill>
                  <a:schemeClr val="tx2"/>
                </a:solidFill>
                <a:latin typeface="+mj-lt"/>
              </a:endParaRPr>
            </a:p>
            <a:p>
              <a:pPr marL="285750" lvl="3" indent="-285750">
                <a:buFont typeface="Arial" panose="020B0604020202020204" pitchFamily="34" charset="0"/>
                <a:buChar char="•"/>
              </a:pPr>
              <a:r>
                <a:rPr lang="de-DE" b="1" dirty="0" err="1"/>
                <a:t>Advanced</a:t>
              </a:r>
              <a:r>
                <a:rPr lang="de-DE" b="1" dirty="0"/>
                <a:t> </a:t>
              </a:r>
              <a:r>
                <a:rPr lang="de-DE" b="1" dirty="0" err="1"/>
                <a:t>materials</a:t>
              </a:r>
              <a:r>
                <a:rPr lang="de-DE" b="1" dirty="0"/>
                <a:t> </a:t>
              </a:r>
              <a:r>
                <a:rPr lang="de-DE" dirty="0"/>
                <a:t>(</a:t>
              </a:r>
              <a:r>
                <a:rPr lang="de-DE" dirty="0" err="1"/>
                <a:t>silicon</a:t>
              </a:r>
              <a:r>
                <a:rPr lang="de-DE" dirty="0"/>
                <a:t> and </a:t>
              </a:r>
              <a:r>
                <a:rPr lang="de-DE" dirty="0" err="1"/>
                <a:t>semiconductor</a:t>
              </a:r>
              <a:r>
                <a:rPr lang="de-DE" dirty="0"/>
                <a:t> </a:t>
              </a:r>
              <a:r>
                <a:rPr lang="de-DE" dirty="0" err="1"/>
                <a:t>optics</a:t>
              </a:r>
              <a:r>
                <a:rPr lang="de-DE" dirty="0"/>
                <a:t>, </a:t>
              </a:r>
              <a:r>
                <a:rPr lang="de-DE" dirty="0" err="1"/>
                <a:t>photodetectors</a:t>
              </a:r>
              <a:r>
                <a:rPr lang="de-DE" dirty="0"/>
                <a:t>), </a:t>
              </a:r>
              <a:r>
                <a:rPr lang="de-DE" b="1" dirty="0" err="1"/>
                <a:t>photonics</a:t>
              </a:r>
              <a:r>
                <a:rPr lang="de-DE" b="1" dirty="0"/>
                <a:t>, </a:t>
              </a:r>
              <a:r>
                <a:rPr lang="de-DE" b="1" dirty="0" err="1"/>
                <a:t>advanced</a:t>
              </a:r>
              <a:r>
                <a:rPr lang="de-DE" b="1" dirty="0"/>
                <a:t> </a:t>
              </a:r>
              <a:r>
                <a:rPr lang="de-DE" b="1" dirty="0" err="1"/>
                <a:t>manufacturing</a:t>
              </a:r>
              <a:r>
                <a:rPr lang="de-DE" b="1" dirty="0"/>
                <a:t> </a:t>
              </a:r>
              <a:r>
                <a:rPr lang="de-DE" b="1" dirty="0" err="1"/>
                <a:t>technologies</a:t>
              </a:r>
              <a:r>
                <a:rPr lang="de-DE" dirty="0"/>
                <a:t>, ...</a:t>
              </a:r>
            </a:p>
            <a:p>
              <a:pPr marL="285750" lvl="3" indent="-285750">
                <a:buFont typeface="Arial" panose="020B0604020202020204" pitchFamily="34" charset="0"/>
                <a:buChar char="•"/>
              </a:pPr>
              <a:r>
                <a:rPr lang="de-DE" b="1" dirty="0" err="1"/>
                <a:t>Digitisation</a:t>
              </a:r>
              <a:r>
                <a:rPr lang="de-DE" dirty="0"/>
                <a:t> (</a:t>
              </a:r>
              <a:r>
                <a:rPr lang="de-DE" dirty="0" err="1"/>
                <a:t>hardware</a:t>
              </a:r>
              <a:r>
                <a:rPr lang="de-DE" dirty="0"/>
                <a:t>, </a:t>
              </a:r>
              <a:r>
                <a:rPr lang="de-DE" dirty="0" err="1"/>
                <a:t>algorithms</a:t>
              </a:r>
              <a:r>
                <a:rPr lang="de-DE" dirty="0"/>
                <a:t> and </a:t>
              </a:r>
              <a:r>
                <a:rPr lang="de-DE" dirty="0" err="1"/>
                <a:t>software</a:t>
              </a:r>
              <a:r>
                <a:rPr lang="de-DE" dirty="0"/>
                <a:t>)</a:t>
              </a:r>
            </a:p>
            <a:p>
              <a:pPr lvl="3"/>
              <a:endParaRPr lang="de-CH" dirty="0"/>
            </a:p>
          </p:txBody>
        </p:sp>
        <p:sp>
          <p:nvSpPr>
            <p:cNvPr id="16" name="Gleichschenkliges Dreieck 26">
              <a:extLst>
                <a:ext uri="{FF2B5EF4-FFF2-40B4-BE49-F238E27FC236}">
                  <a16:creationId xmlns:a16="http://schemas.microsoft.com/office/drawing/2014/main" id="{59DFA9B5-2074-1F7D-7C16-76DD8660E5D0}"/>
                </a:ext>
              </a:extLst>
            </p:cNvPr>
            <p:cNvSpPr/>
            <p:nvPr/>
          </p:nvSpPr>
          <p:spPr>
            <a:xfrm flipV="1">
              <a:off x="2865446" y="4107724"/>
              <a:ext cx="4152686" cy="288000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</p:grpSp>
    </p:spTree>
    <p:extLst>
      <p:ext uri="{BB962C8B-B14F-4D97-AF65-F5344CB8AC3E}">
        <p14:creationId xmlns:p14="http://schemas.microsoft.com/office/powerpoint/2010/main" val="2772363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04A9A"/>
      </a:dk2>
      <a:lt2>
        <a:srgbClr val="B9BABC"/>
      </a:lt2>
      <a:accent1>
        <a:srgbClr val="004B7D"/>
      </a:accent1>
      <a:accent2>
        <a:srgbClr val="0E718B"/>
      </a:accent2>
      <a:accent3>
        <a:srgbClr val="5768B8"/>
      </a:accent3>
      <a:accent4>
        <a:srgbClr val="F59827"/>
      </a:accent4>
      <a:accent5>
        <a:srgbClr val="B9BABC"/>
      </a:accent5>
      <a:accent6>
        <a:srgbClr val="009FDF"/>
      </a:accent6>
      <a:hlink>
        <a:srgbClr val="004B7D"/>
      </a:hlink>
      <a:folHlink>
        <a:srgbClr val="004B7D"/>
      </a:folHlink>
    </a:clrScheme>
    <a:fontScheme name="dza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004A9A"/>
      </a:dk2>
      <a:lt2>
        <a:srgbClr val="B9BABC"/>
      </a:lt2>
      <a:accent1>
        <a:srgbClr val="004B7D"/>
      </a:accent1>
      <a:accent2>
        <a:srgbClr val="0E718B"/>
      </a:accent2>
      <a:accent3>
        <a:srgbClr val="5768B8"/>
      </a:accent3>
      <a:accent4>
        <a:srgbClr val="F59827"/>
      </a:accent4>
      <a:accent5>
        <a:srgbClr val="B9BABC"/>
      </a:accent5>
      <a:accent6>
        <a:srgbClr val="009FDF"/>
      </a:accent6>
      <a:hlink>
        <a:srgbClr val="004B7D"/>
      </a:hlink>
      <a:folHlink>
        <a:srgbClr val="004B7D"/>
      </a:folHlink>
    </a:clrScheme>
    <a:fontScheme name="dza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">
  <a:themeElements>
    <a:clrScheme name="Office">
      <a:dk1>
        <a:sysClr val="windowText" lastClr="000000"/>
      </a:dk1>
      <a:lt1>
        <a:sysClr val="window" lastClr="FFFFFF"/>
      </a:lt1>
      <a:dk2>
        <a:srgbClr val="004A9A"/>
      </a:dk2>
      <a:lt2>
        <a:srgbClr val="B9BABC"/>
      </a:lt2>
      <a:accent1>
        <a:srgbClr val="004B7D"/>
      </a:accent1>
      <a:accent2>
        <a:srgbClr val="0E718B"/>
      </a:accent2>
      <a:accent3>
        <a:srgbClr val="5768B8"/>
      </a:accent3>
      <a:accent4>
        <a:srgbClr val="F59827"/>
      </a:accent4>
      <a:accent5>
        <a:srgbClr val="B9BABC"/>
      </a:accent5>
      <a:accent6>
        <a:srgbClr val="009FDF"/>
      </a:accent6>
      <a:hlink>
        <a:srgbClr val="004B7D"/>
      </a:hlink>
      <a:folHlink>
        <a:srgbClr val="004B7D"/>
      </a:folHlink>
    </a:clrScheme>
    <a:fontScheme name="dza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221</TotalTime>
  <Words>1672</Words>
  <Application>Microsoft Macintosh PowerPoint</Application>
  <PresentationFormat>Widescreen</PresentationFormat>
  <Paragraphs>350</Paragraphs>
  <Slides>27</Slides>
  <Notes>13</Notes>
  <HiddenSlides>1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38" baseType="lpstr">
      <vt:lpstr>Arial</vt:lpstr>
      <vt:lpstr>Calibri</vt:lpstr>
      <vt:lpstr>Calibri Light</vt:lpstr>
      <vt:lpstr>Neue Haas Grotesk Text Pro</vt:lpstr>
      <vt:lpstr>Roboto</vt:lpstr>
      <vt:lpstr>Symbol</vt:lpstr>
      <vt:lpstr>Wingdings</vt:lpstr>
      <vt:lpstr>Office</vt:lpstr>
      <vt:lpstr>1_Office</vt:lpstr>
      <vt:lpstr>2_Office</vt:lpstr>
      <vt:lpstr>think-cell Folie</vt:lpstr>
      <vt:lpstr>On solid ground  The German Centre for Astrophysics,  a centre for research, technology, and  digitisation.</vt:lpstr>
      <vt:lpstr>A competition historically unique in Germany</vt:lpstr>
      <vt:lpstr>29. September 2022 12:45 Uhr (CEST)</vt:lpstr>
      <vt:lpstr>Who we are</vt:lpstr>
      <vt:lpstr>A large team and many partners</vt:lpstr>
      <vt:lpstr>DZA concept : the challenges of astrophysics today</vt:lpstr>
      <vt:lpstr>The German Centre  for Astrophysics</vt:lpstr>
      <vt:lpstr>PowerPoint Presentation</vt:lpstr>
      <vt:lpstr>The Structure of the DZA</vt:lpstr>
      <vt:lpstr>The Structure of the DZA</vt:lpstr>
      <vt:lpstr>Research  in the treasure of Lusatia</vt:lpstr>
      <vt:lpstr>PowerPoint Presentation</vt:lpstr>
      <vt:lpstr>Measurements in the Treasure of Lusatia</vt:lpstr>
      <vt:lpstr>PowerPoint Presentation</vt:lpstr>
      <vt:lpstr>PowerPoint Presentation</vt:lpstr>
      <vt:lpstr>Down to over 250m depth</vt:lpstr>
      <vt:lpstr>The Low Seismic Lab</vt:lpstr>
      <vt:lpstr>The role of the DZA in the Einstein Telescope</vt:lpstr>
      <vt:lpstr>Knowledge. Creates. Perspectives. </vt:lpstr>
      <vt:lpstr>Jobs at the DZA</vt:lpstr>
      <vt:lpstr>From kindergarten to professor:  All things education</vt:lpstr>
      <vt:lpstr>Shaping the future together</vt:lpstr>
      <vt:lpstr>Shaping the future together</vt:lpstr>
      <vt:lpstr>We are ready to go</vt:lpstr>
      <vt:lpstr>DZA Timeline</vt:lpstr>
      <vt:lpstr>We are ready to start: 2023 start of the given three-year build-up phase. Foundation of the DZA in 2026</vt:lpstr>
      <vt:lpstr>Marica Branchesi “Gravitational Wave Astronomy”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v@ve7.de</dc:creator>
  <cp:lastModifiedBy>Christian Stegmann</cp:lastModifiedBy>
  <cp:revision>1198</cp:revision>
  <dcterms:created xsi:type="dcterms:W3CDTF">2022-06-30T08:12:43Z</dcterms:created>
  <dcterms:modified xsi:type="dcterms:W3CDTF">2022-10-21T09:07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976fa30-1907-4356-8241-62ea5e1c0256_Enabled">
    <vt:lpwstr>true</vt:lpwstr>
  </property>
  <property fmtid="{D5CDD505-2E9C-101B-9397-08002B2CF9AE}" pid="3" name="MSIP_Label_3976fa30-1907-4356-8241-62ea5e1c0256_SetDate">
    <vt:lpwstr>2022-07-07T17:23:32Z</vt:lpwstr>
  </property>
  <property fmtid="{D5CDD505-2E9C-101B-9397-08002B2CF9AE}" pid="4" name="MSIP_Label_3976fa30-1907-4356-8241-62ea5e1c0256_Method">
    <vt:lpwstr>Privileged</vt:lpwstr>
  </property>
  <property fmtid="{D5CDD505-2E9C-101B-9397-08002B2CF9AE}" pid="5" name="MSIP_Label_3976fa30-1907-4356-8241-62ea5e1c0256_Name">
    <vt:lpwstr>ESA UNCLASSIFIED – For ESA Official Use Only</vt:lpwstr>
  </property>
  <property fmtid="{D5CDD505-2E9C-101B-9397-08002B2CF9AE}" pid="6" name="MSIP_Label_3976fa30-1907-4356-8241-62ea5e1c0256_SiteId">
    <vt:lpwstr>9a5cacd0-2bef-4dd7-ac5c-7ebe1f54f495</vt:lpwstr>
  </property>
  <property fmtid="{D5CDD505-2E9C-101B-9397-08002B2CF9AE}" pid="7" name="MSIP_Label_3976fa30-1907-4356-8241-62ea5e1c0256_ActionId">
    <vt:lpwstr>89e95102-94b7-4e42-8746-43f1365e5e77</vt:lpwstr>
  </property>
  <property fmtid="{D5CDD505-2E9C-101B-9397-08002B2CF9AE}" pid="8" name="MSIP_Label_3976fa30-1907-4356-8241-62ea5e1c0256_ContentBits">
    <vt:lpwstr>0</vt:lpwstr>
  </property>
</Properties>
</file>